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.xml" ContentType="application/vnd.openxmlformats-officedocument.drawingml.chart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2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9" r:id="rId3"/>
    <p:sldId id="261" r:id="rId4"/>
    <p:sldId id="258" r:id="rId5"/>
    <p:sldId id="260" r:id="rId6"/>
    <p:sldId id="263" r:id="rId7"/>
    <p:sldId id="265" r:id="rId8"/>
    <p:sldId id="264" r:id="rId9"/>
  </p:sldIdLst>
  <p:sldSz cx="9144000" cy="5145088"/>
  <p:notesSz cx="6858000" cy="9144000"/>
  <p:custDataLst>
    <p:tags r:id="rId10"/>
  </p:custDataLst>
  <p:defaultTextStyle>
    <a:defPPr>
      <a:defRPr lang="es-CL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3" autoAdjust="0"/>
    <p:restoredTop sz="94660"/>
  </p:normalViewPr>
  <p:slideViewPr>
    <p:cSldViewPr snapToGrid="0">
      <p:cViewPr varScale="1">
        <p:scale>
          <a:sx n="98" d="100"/>
          <a:sy n="98" d="100"/>
        </p:scale>
        <p:origin x="60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751575329387058E-2"/>
          <c:y val="4.6934140802422405E-2"/>
          <c:w val="0.87550124116860806"/>
          <c:h val="0.9061317183951551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18387"/>
            </a:solidFill>
            <a:ln>
              <a:noFill/>
            </a:ln>
          </c:spPr>
          <c:invertIfNegative val="0"/>
          <c:val>
            <c:numRef>
              <c:f>Sheet1!$A$1:$O$1</c:f>
              <c:numCache>
                <c:formatCode>General</c:formatCode>
                <c:ptCount val="15"/>
                <c:pt idx="0">
                  <c:v>2434.6933656261212</c:v>
                </c:pt>
                <c:pt idx="1">
                  <c:v>2775.7659931707317</c:v>
                </c:pt>
                <c:pt idx="2">
                  <c:v>4033.224414357896</c:v>
                </c:pt>
                <c:pt idx="3">
                  <c:v>6653.867442230674</c:v>
                </c:pt>
                <c:pt idx="4">
                  <c:v>4335.6735919553776</c:v>
                </c:pt>
                <c:pt idx="5">
                  <c:v>6442.2400295799644</c:v>
                </c:pt>
                <c:pt idx="6">
                  <c:v>10074.84864278541</c:v>
                </c:pt>
                <c:pt idx="7">
                  <c:v>9544.3252693952218</c:v>
                </c:pt>
                <c:pt idx="8">
                  <c:v>11298.032825839655</c:v>
                </c:pt>
                <c:pt idx="9">
                  <c:v>10297.369661405613</c:v>
                </c:pt>
                <c:pt idx="10">
                  <c:v>10428.800567449527</c:v>
                </c:pt>
                <c:pt idx="11">
                  <c:v>12233.297070984005</c:v>
                </c:pt>
                <c:pt idx="12">
                  <c:v>18029.949350755072</c:v>
                </c:pt>
                <c:pt idx="13">
                  <c:v>25070.443095589919</c:v>
                </c:pt>
                <c:pt idx="14">
                  <c:v>277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7C5-4B0C-828F-0C945235F32A}"/>
            </c:ext>
          </c:extLst>
        </c:ser>
        <c:ser>
          <c:idx val="1"/>
          <c:order val="1"/>
          <c:spPr>
            <a:solidFill>
              <a:srgbClr val="CCCCCC"/>
            </a:solidFill>
            <a:ln>
              <a:noFill/>
            </a:ln>
          </c:spPr>
          <c:invertIfNegative val="0"/>
          <c:val>
            <c:numRef>
              <c:f>Sheet1!$A$2:$O$2</c:f>
              <c:numCache>
                <c:formatCode>General</c:formatCode>
                <c:ptCount val="15"/>
                <c:pt idx="0">
                  <c:v>2196.8274201650524</c:v>
                </c:pt>
                <c:pt idx="1">
                  <c:v>2455</c:v>
                </c:pt>
                <c:pt idx="2">
                  <c:v>3665.1420464696935</c:v>
                </c:pt>
                <c:pt idx="3">
                  <c:v>6085.2993969691479</c:v>
                </c:pt>
                <c:pt idx="4">
                  <c:v>3978.9693654646853</c:v>
                </c:pt>
                <c:pt idx="5">
                  <c:v>5994.1943924275292</c:v>
                </c:pt>
                <c:pt idx="6">
                  <c:v>9461.3472554646323</c:v>
                </c:pt>
                <c:pt idx="7">
                  <c:v>8653.1403635400638</c:v>
                </c:pt>
                <c:pt idx="8">
                  <c:v>10114.569049254102</c:v>
                </c:pt>
                <c:pt idx="9">
                  <c:v>9063.7281054688247</c:v>
                </c:pt>
                <c:pt idx="10">
                  <c:v>9235.7280122785342</c:v>
                </c:pt>
                <c:pt idx="11">
                  <c:v>11027.37950073223</c:v>
                </c:pt>
                <c:pt idx="12">
                  <c:v>16742.893691561996</c:v>
                </c:pt>
                <c:pt idx="13">
                  <c:v>23630.275098984981</c:v>
                </c:pt>
                <c:pt idx="14">
                  <c:v>263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7C5-4B0C-828F-0C945235F3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05299360"/>
        <c:axId val="1605306432"/>
      </c:barChart>
      <c:lineChart>
        <c:grouping val="standard"/>
        <c:varyColors val="0"/>
        <c:ser>
          <c:idx val="2"/>
          <c:order val="2"/>
          <c:spPr>
            <a:ln w="19050" algn="ctr">
              <a:solidFill>
                <a:srgbClr val="FAAF3F"/>
              </a:solidFill>
              <a:prstDash val="solid"/>
            </a:ln>
          </c:spPr>
          <c:marker>
            <c:symbol val="none"/>
          </c:marker>
          <c:val>
            <c:numRef>
              <c:f>Sheet1!$A$3:$O$3</c:f>
              <c:numCache>
                <c:formatCode>General</c:formatCode>
                <c:ptCount val="15"/>
                <c:pt idx="0">
                  <c:v>38</c:v>
                </c:pt>
                <c:pt idx="1">
                  <c:v>40</c:v>
                </c:pt>
                <c:pt idx="2">
                  <c:v>50</c:v>
                </c:pt>
                <c:pt idx="3">
                  <c:v>57</c:v>
                </c:pt>
                <c:pt idx="4">
                  <c:v>58</c:v>
                </c:pt>
                <c:pt idx="5">
                  <c:v>64</c:v>
                </c:pt>
                <c:pt idx="6">
                  <c:v>78</c:v>
                </c:pt>
                <c:pt idx="7">
                  <c:v>81</c:v>
                </c:pt>
                <c:pt idx="8">
                  <c:v>90</c:v>
                </c:pt>
                <c:pt idx="9">
                  <c:v>98</c:v>
                </c:pt>
                <c:pt idx="10">
                  <c:v>118</c:v>
                </c:pt>
                <c:pt idx="11">
                  <c:v>199</c:v>
                </c:pt>
                <c:pt idx="12">
                  <c:v>289</c:v>
                </c:pt>
                <c:pt idx="13">
                  <c:v>366</c:v>
                </c:pt>
                <c:pt idx="14">
                  <c:v>41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37C5-4B0C-828F-0C945235F3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5299360"/>
        <c:axId val="1605305888"/>
      </c:lineChart>
      <c:catAx>
        <c:axId val="1605299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05306432"/>
        <c:crosses val="min"/>
        <c:auto val="0"/>
        <c:lblAlgn val="ctr"/>
        <c:lblOffset val="100"/>
        <c:noMultiLvlLbl val="0"/>
      </c:catAx>
      <c:valAx>
        <c:axId val="1605306432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s-CL"/>
          </a:p>
        </c:txPr>
        <c:crossAx val="1605299360"/>
        <c:crosses val="min"/>
        <c:crossBetween val="between"/>
        <c:majorUnit val="5000"/>
      </c:valAx>
      <c:valAx>
        <c:axId val="1605305888"/>
        <c:scaling>
          <c:orientation val="minMax"/>
          <c:max val="45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s-CL"/>
          </a:p>
        </c:txPr>
        <c:crossAx val="1605299360"/>
        <c:crosses val="max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12244897959184E-2"/>
          <c:y val="3.4643570952698204E-2"/>
          <c:w val="0.97877551020408171"/>
          <c:h val="0.9307128580946035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CCCCC"/>
            </a:solidFill>
            <a:ln>
              <a:noFill/>
            </a:ln>
          </c:spPr>
          <c:invertIfNegative val="0"/>
          <c:val>
            <c:numRef>
              <c:f>Sheet1!$A$1:$O$1</c:f>
              <c:numCache>
                <c:formatCode>General</c:formatCode>
                <c:ptCount val="15"/>
                <c:pt idx="0">
                  <c:v>1348.3303085755292</c:v>
                </c:pt>
                <c:pt idx="1">
                  <c:v>1499.5356809756101</c:v>
                </c:pt>
                <c:pt idx="2">
                  <c:v>2738.6559608933294</c:v>
                </c:pt>
                <c:pt idx="3">
                  <c:v>4951.3951389039821</c:v>
                </c:pt>
                <c:pt idx="4">
                  <c:v>2707.0532813261057</c:v>
                </c:pt>
                <c:pt idx="5">
                  <c:v>4536.7715006901981</c:v>
                </c:pt>
                <c:pt idx="6">
                  <c:v>7782.7615554154827</c:v>
                </c:pt>
                <c:pt idx="7">
                  <c:v>6859.4715003852079</c:v>
                </c:pt>
                <c:pt idx="8">
                  <c:v>7920.7305889657464</c:v>
                </c:pt>
                <c:pt idx="9">
                  <c:v>6518.80753578849</c:v>
                </c:pt>
                <c:pt idx="10">
                  <c:v>6210.9760539761019</c:v>
                </c:pt>
                <c:pt idx="11">
                  <c:v>6294.5058825053547</c:v>
                </c:pt>
                <c:pt idx="12">
                  <c:v>9637.0188826534431</c:v>
                </c:pt>
                <c:pt idx="13">
                  <c:v>10440.831598427012</c:v>
                </c:pt>
                <c:pt idx="14">
                  <c:v>10838.5209456824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E9D-4F7A-ABE4-B2FBD0CD7587}"/>
            </c:ext>
          </c:extLst>
        </c:ser>
        <c:ser>
          <c:idx val="1"/>
          <c:order val="1"/>
          <c:spPr>
            <a:solidFill>
              <a:srgbClr val="818387"/>
            </a:solidFill>
            <a:ln>
              <a:noFill/>
            </a:ln>
          </c:spPr>
          <c:invertIfNegative val="0"/>
          <c:val>
            <c:numRef>
              <c:f>Sheet1!$A$2:$O$2</c:f>
              <c:numCache>
                <c:formatCode>General</c:formatCode>
                <c:ptCount val="15"/>
                <c:pt idx="0">
                  <c:v>824.96617868676003</c:v>
                </c:pt>
                <c:pt idx="1">
                  <c:v>985.55974243902438</c:v>
                </c:pt>
                <c:pt idx="2">
                  <c:v>1031.0000826461803</c:v>
                </c:pt>
                <c:pt idx="3">
                  <c:v>1295.1235283463141</c:v>
                </c:pt>
                <c:pt idx="4">
                  <c:v>1159.2629538848298</c:v>
                </c:pt>
                <c:pt idx="5">
                  <c:v>1425.1355275093665</c:v>
                </c:pt>
                <c:pt idx="6">
                  <c:v>1676.081111514711</c:v>
                </c:pt>
                <c:pt idx="7">
                  <c:v>1818.3976097842833</c:v>
                </c:pt>
                <c:pt idx="8">
                  <c:v>2306.5311734311185</c:v>
                </c:pt>
                <c:pt idx="9">
                  <c:v>2456.4773908236593</c:v>
                </c:pt>
                <c:pt idx="10">
                  <c:v>2381.1352237330038</c:v>
                </c:pt>
                <c:pt idx="11">
                  <c:v>2252.717232215276</c:v>
                </c:pt>
                <c:pt idx="12">
                  <c:v>2614.3639809252095</c:v>
                </c:pt>
                <c:pt idx="13">
                  <c:v>3144.1037553802544</c:v>
                </c:pt>
                <c:pt idx="14">
                  <c:v>3517.72717749640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E9D-4F7A-ABE4-B2FBD0CD7587}"/>
            </c:ext>
          </c:extLst>
        </c:ser>
        <c:ser>
          <c:idx val="2"/>
          <c:order val="2"/>
          <c:spPr>
            <a:solidFill>
              <a:srgbClr val="FAAF3F"/>
            </a:solidFill>
            <a:ln>
              <a:noFill/>
            </a:ln>
          </c:spPr>
          <c:invertIfNegative val="0"/>
          <c:val>
            <c:numRef>
              <c:f>Sheet1!$A$3:$O$3</c:f>
              <c:numCache>
                <c:formatCode>General</c:formatCode>
                <c:ptCount val="15"/>
                <c:pt idx="0">
                  <c:v>154.7737334050951</c:v>
                </c:pt>
                <c:pt idx="1">
                  <c:v>172.38409365853659</c:v>
                </c:pt>
                <c:pt idx="2">
                  <c:v>146.47043896391745</c:v>
                </c:pt>
                <c:pt idx="3">
                  <c:v>171.36216063917567</c:v>
                </c:pt>
                <c:pt idx="4">
                  <c:v>224.28823788200168</c:v>
                </c:pt>
                <c:pt idx="5">
                  <c:v>228.18715440741471</c:v>
                </c:pt>
                <c:pt idx="6">
                  <c:v>297.572497168864</c:v>
                </c:pt>
                <c:pt idx="7">
                  <c:v>449.71241153697997</c:v>
                </c:pt>
                <c:pt idx="8">
                  <c:v>571.96764832486053</c:v>
                </c:pt>
                <c:pt idx="9">
                  <c:v>795.13179758296633</c:v>
                </c:pt>
                <c:pt idx="10">
                  <c:v>1277.0606935311084</c:v>
                </c:pt>
                <c:pt idx="11">
                  <c:v>3103.4950605778981</c:v>
                </c:pt>
                <c:pt idx="12">
                  <c:v>5011.4026071668632</c:v>
                </c:pt>
                <c:pt idx="13">
                  <c:v>4776.463036079108</c:v>
                </c:pt>
                <c:pt idx="14">
                  <c:v>6623.24286804316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E9D-4F7A-ABE4-B2FBD0CD7587}"/>
            </c:ext>
          </c:extLst>
        </c:ser>
        <c:ser>
          <c:idx val="3"/>
          <c:order val="3"/>
          <c:spPr>
            <a:solidFill>
              <a:srgbClr val="E27F20"/>
            </a:solidFill>
            <a:ln>
              <a:noFill/>
            </a:ln>
          </c:spPr>
          <c:invertIfNegative val="0"/>
          <c:val>
            <c:numRef>
              <c:f>Sheet1!$A$4:$O$4</c:f>
              <c:numCache>
                <c:formatCode>General</c:formatCode>
                <c:ptCount val="15"/>
                <c:pt idx="0">
                  <c:v>106.623144958737</c:v>
                </c:pt>
                <c:pt idx="1">
                  <c:v>118.28647609756098</c:v>
                </c:pt>
                <c:pt idx="2">
                  <c:v>117.09793185446759</c:v>
                </c:pt>
                <c:pt idx="3">
                  <c:v>235.98661434120226</c:v>
                </c:pt>
                <c:pt idx="4">
                  <c:v>245.06911886244006</c:v>
                </c:pt>
                <c:pt idx="5">
                  <c:v>252.14584697298363</c:v>
                </c:pt>
                <c:pt idx="6">
                  <c:v>318.43347868635288</c:v>
                </c:pt>
                <c:pt idx="7">
                  <c:v>416.74374768875185</c:v>
                </c:pt>
                <c:pt idx="8">
                  <c:v>498.80341511792648</c:v>
                </c:pt>
                <c:pt idx="9">
                  <c:v>526.95293721049927</c:v>
                </c:pt>
                <c:pt idx="10">
                  <c:v>559.62859620931192</c:v>
                </c:pt>
                <c:pt idx="11">
                  <c:v>582.57889568547932</c:v>
                </c:pt>
                <c:pt idx="12">
                  <c:v>767.16388000955976</c:v>
                </c:pt>
                <c:pt idx="13">
                  <c:v>1051.7352505083368</c:v>
                </c:pt>
                <c:pt idx="14">
                  <c:v>1132.71900018705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E9D-4F7A-ABE4-B2FBD0CD75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05295008"/>
        <c:axId val="1605307520"/>
      </c:barChart>
      <c:catAx>
        <c:axId val="1605295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05307520"/>
        <c:crosses val="min"/>
        <c:auto val="0"/>
        <c:lblAlgn val="ctr"/>
        <c:lblOffset val="100"/>
        <c:noMultiLvlLbl val="0"/>
      </c:catAx>
      <c:valAx>
        <c:axId val="1605307520"/>
        <c:scaling>
          <c:orientation val="minMax"/>
          <c:max val="11342.69054480478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05295008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263416345142047E-2"/>
          <c:y val="3.9068369646882047E-2"/>
          <c:w val="0.88249736934408973"/>
          <c:h val="0.9211119459053344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BD184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0</c:v>
                </c:pt>
                <c:pt idx="1">
                  <c:v>17.792000000000002</c:v>
                </c:pt>
                <c:pt idx="2">
                  <c:v>6.9379999999999997</c:v>
                </c:pt>
                <c:pt idx="3">
                  <c:v>4.1440000000000001</c:v>
                </c:pt>
                <c:pt idx="4">
                  <c:v>3.22014388489208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747-421C-93EF-3D84836A9AC7}"/>
            </c:ext>
          </c:extLst>
        </c:ser>
        <c:ser>
          <c:idx val="1"/>
          <c:order val="1"/>
          <c:spPr>
            <a:solidFill>
              <a:srgbClr val="818387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665.25158491965385</c:v>
                </c:pt>
                <c:pt idx="1">
                  <c:v>1435.7363002281177</c:v>
                </c:pt>
                <c:pt idx="2">
                  <c:v>2375.220517065738</c:v>
                </c:pt>
                <c:pt idx="3">
                  <c:v>2154.0999613507133</c:v>
                </c:pt>
                <c:pt idx="4">
                  <c:v>2701.49719325179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747-421C-93EF-3D84836A9AC7}"/>
            </c:ext>
          </c:extLst>
        </c:ser>
        <c:ser>
          <c:idx val="2"/>
          <c:order val="2"/>
          <c:spPr>
            <a:solidFill>
              <a:srgbClr val="CCCCCC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230.05584095591263</c:v>
                </c:pt>
                <c:pt idx="1">
                  <c:v>541.03679655288954</c:v>
                </c:pt>
                <c:pt idx="2">
                  <c:v>868.75500851419781</c:v>
                </c:pt>
                <c:pt idx="3">
                  <c:v>1280.1746632777551</c:v>
                </c:pt>
                <c:pt idx="4">
                  <c:v>2104.24575879136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747-421C-93EF-3D84836A9AC7}"/>
            </c:ext>
          </c:extLst>
        </c:ser>
        <c:ser>
          <c:idx val="3"/>
          <c:order val="3"/>
          <c:spPr>
            <a:solidFill>
              <a:srgbClr val="E27F20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333.15926765554184</c:v>
                </c:pt>
                <c:pt idx="1">
                  <c:v>692.45829865100825</c:v>
                </c:pt>
                <c:pt idx="2">
                  <c:v>1082.7227598548104</c:v>
                </c:pt>
                <c:pt idx="3">
                  <c:v>946.33707719129495</c:v>
                </c:pt>
                <c:pt idx="4">
                  <c:v>1175.51893290647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747-421C-93EF-3D84836A9AC7}"/>
            </c:ext>
          </c:extLst>
        </c:ser>
        <c:ser>
          <c:idx val="4"/>
          <c:order val="4"/>
          <c:spPr>
            <a:solidFill>
              <a:srgbClr val="FAAF3F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48.594000000000001</c:v>
                </c:pt>
                <c:pt idx="1">
                  <c:v>421.71700000000004</c:v>
                </c:pt>
                <c:pt idx="2">
                  <c:v>684.92526985525876</c:v>
                </c:pt>
                <c:pt idx="3">
                  <c:v>398.68684300273679</c:v>
                </c:pt>
                <c:pt idx="4">
                  <c:v>638.761049035971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747-421C-93EF-3D84836A9A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05303168"/>
        <c:axId val="1605293920"/>
      </c:barChart>
      <c:catAx>
        <c:axId val="1605303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05293920"/>
        <c:crosses val="min"/>
        <c:auto val="0"/>
        <c:lblAlgn val="ctr"/>
        <c:lblOffset val="100"/>
        <c:noMultiLvlLbl val="0"/>
      </c:catAx>
      <c:valAx>
        <c:axId val="1605293920"/>
        <c:scaling>
          <c:orientation val="minMax"/>
          <c:max val="2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pPr>
            <a:endParaRPr lang="es-CL"/>
          </a:p>
        </c:txPr>
        <c:crossAx val="1605303168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84300341296929E-2"/>
          <c:y val="3.9097744360902256E-2"/>
          <c:w val="0.95563139931740615"/>
          <c:h val="0.921804511278195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CCCCC"/>
            </a:solidFill>
            <a:ln>
              <a:noFill/>
            </a:ln>
          </c:spPr>
          <c:invertIfNegative val="0"/>
          <c:val>
            <c:numRef>
              <c:f>Sheet1!$A$1:$O$1</c:f>
              <c:numCache>
                <c:formatCode>General</c:formatCode>
                <c:ptCount val="15"/>
                <c:pt idx="0">
                  <c:v>48.091426264800866</c:v>
                </c:pt>
                <c:pt idx="1">
                  <c:v>65.877274146341463</c:v>
                </c:pt>
                <c:pt idx="2">
                  <c:v>67.756625781851653</c:v>
                </c:pt>
                <c:pt idx="3">
                  <c:v>82.287993318440698</c:v>
                </c:pt>
                <c:pt idx="4">
                  <c:v>51.440083274412757</c:v>
                </c:pt>
                <c:pt idx="5">
                  <c:v>34.478207454151047</c:v>
                </c:pt>
                <c:pt idx="6">
                  <c:v>58.875582060212395</c:v>
                </c:pt>
                <c:pt idx="7">
                  <c:v>220.79413033513094</c:v>
                </c:pt>
                <c:pt idx="8">
                  <c:v>333.01654114926242</c:v>
                </c:pt>
                <c:pt idx="9">
                  <c:v>533.69973908236591</c:v>
                </c:pt>
                <c:pt idx="10">
                  <c:v>994.34728067573144</c:v>
                </c:pt>
                <c:pt idx="11">
                  <c:v>2683.4375781514027</c:v>
                </c:pt>
                <c:pt idx="12">
                  <c:v>3732.6961850592406</c:v>
                </c:pt>
                <c:pt idx="13">
                  <c:v>3375.5446615366118</c:v>
                </c:pt>
                <c:pt idx="14">
                  <c:v>4254.13439830255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2C7-4AC2-99CA-7F2330257664}"/>
            </c:ext>
          </c:extLst>
        </c:ser>
        <c:ser>
          <c:idx val="1"/>
          <c:order val="1"/>
          <c:spPr>
            <a:solidFill>
              <a:srgbClr val="E27F20"/>
            </a:solidFill>
            <a:ln>
              <a:noFill/>
            </a:ln>
          </c:spPr>
          <c:invertIfNegative val="0"/>
          <c:val>
            <c:numRef>
              <c:f>Sheet1!$A$2:$O$2</c:f>
              <c:numCache>
                <c:formatCode>General</c:formatCode>
                <c:ptCount val="15"/>
                <c:pt idx="0">
                  <c:v>106.68230714029421</c:v>
                </c:pt>
                <c:pt idx="1">
                  <c:v>106.50681951219512</c:v>
                </c:pt>
                <c:pt idx="2">
                  <c:v>78.713813182065792</c:v>
                </c:pt>
                <c:pt idx="3">
                  <c:v>89.074167320734986</c:v>
                </c:pt>
                <c:pt idx="4">
                  <c:v>172.84815460758895</c:v>
                </c:pt>
                <c:pt idx="5">
                  <c:v>193.70894695326365</c:v>
                </c:pt>
                <c:pt idx="6">
                  <c:v>238.69691510865152</c:v>
                </c:pt>
                <c:pt idx="7">
                  <c:v>228.918281201849</c:v>
                </c:pt>
                <c:pt idx="8">
                  <c:v>238.95110717559797</c:v>
                </c:pt>
                <c:pt idx="9">
                  <c:v>261.43205850060042</c:v>
                </c:pt>
                <c:pt idx="10">
                  <c:v>282.71341285537699</c:v>
                </c:pt>
                <c:pt idx="11">
                  <c:v>420.05748242649543</c:v>
                </c:pt>
                <c:pt idx="12">
                  <c:v>887.84082041017507</c:v>
                </c:pt>
                <c:pt idx="13">
                  <c:v>1400.9183745424968</c:v>
                </c:pt>
                <c:pt idx="14">
                  <c:v>19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2C7-4AC2-99CA-7F23302576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05295552"/>
        <c:axId val="1703303136"/>
      </c:barChart>
      <c:catAx>
        <c:axId val="1605295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03303136"/>
        <c:crosses val="min"/>
        <c:auto val="0"/>
        <c:lblAlgn val="ctr"/>
        <c:lblOffset val="100"/>
        <c:noMultiLvlLbl val="0"/>
      </c:catAx>
      <c:valAx>
        <c:axId val="1703303136"/>
        <c:scaling>
          <c:orientation val="minMax"/>
          <c:max val="4609.134398302552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05295552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991964937910884E-2"/>
          <c:y val="3.9097744360902256E-2"/>
          <c:w val="0.96201607012417822"/>
          <c:h val="0.921804511278195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CCCCC"/>
            </a:solidFill>
            <a:ln>
              <a:noFill/>
            </a:ln>
          </c:spPr>
          <c:invertIfNegative val="0"/>
          <c:val>
            <c:numRef>
              <c:f>Sheet1!$A$1:$O$1</c:f>
              <c:numCache>
                <c:formatCode>General</c:formatCode>
                <c:ptCount val="15"/>
                <c:pt idx="0">
                  <c:v>278.36153570147115</c:v>
                </c:pt>
                <c:pt idx="1">
                  <c:v>334.91200195121951</c:v>
                </c:pt>
                <c:pt idx="2">
                  <c:v>322.51983696162591</c:v>
                </c:pt>
                <c:pt idx="3">
                  <c:v>398.36675119241687</c:v>
                </c:pt>
                <c:pt idx="4">
                  <c:v>361.27921124990172</c:v>
                </c:pt>
                <c:pt idx="5">
                  <c:v>470.87770065075921</c:v>
                </c:pt>
                <c:pt idx="6">
                  <c:v>674.15389414756089</c:v>
                </c:pt>
                <c:pt idx="7">
                  <c:v>879.89715331278887</c:v>
                </c:pt>
                <c:pt idx="8">
                  <c:v>1242.5008688224018</c:v>
                </c:pt>
                <c:pt idx="9">
                  <c:v>1431.9461028192368</c:v>
                </c:pt>
                <c:pt idx="10">
                  <c:v>1404.1454981458589</c:v>
                </c:pt>
                <c:pt idx="11">
                  <c:v>1421.6552250619579</c:v>
                </c:pt>
                <c:pt idx="12">
                  <c:v>1615.7080370312133</c:v>
                </c:pt>
                <c:pt idx="13">
                  <c:v>2104.5550835393078</c:v>
                </c:pt>
                <c:pt idx="14">
                  <c:v>2385.49603595573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D02-4FBF-96BE-21C465FA5D8D}"/>
            </c:ext>
          </c:extLst>
        </c:ser>
        <c:ser>
          <c:idx val="1"/>
          <c:order val="1"/>
          <c:spPr>
            <a:solidFill>
              <a:srgbClr val="818387"/>
            </a:solidFill>
            <a:ln>
              <a:noFill/>
            </a:ln>
          </c:spPr>
          <c:invertIfNegative val="0"/>
          <c:val>
            <c:numRef>
              <c:f>Sheet1!$A$2:$O$2</c:f>
              <c:numCache>
                <c:formatCode>General</c:formatCode>
                <c:ptCount val="15"/>
                <c:pt idx="0">
                  <c:v>43.000095084320051</c:v>
                </c:pt>
                <c:pt idx="1">
                  <c:v>72.260815609756094</c:v>
                </c:pt>
                <c:pt idx="2">
                  <c:v>127.25515505550443</c:v>
                </c:pt>
                <c:pt idx="3">
                  <c:v>178.32197468252531</c:v>
                </c:pt>
                <c:pt idx="4">
                  <c:v>160.12668395003533</c:v>
                </c:pt>
                <c:pt idx="5">
                  <c:v>175.98150266219676</c:v>
                </c:pt>
                <c:pt idx="6">
                  <c:v>194.02854212516826</c:v>
                </c:pt>
                <c:pt idx="7">
                  <c:v>164.9617661787365</c:v>
                </c:pt>
                <c:pt idx="8">
                  <c:v>192.47934411200933</c:v>
                </c:pt>
                <c:pt idx="9">
                  <c:v>218.36944015554408</c:v>
                </c:pt>
                <c:pt idx="10">
                  <c:v>238.0665892047796</c:v>
                </c:pt>
                <c:pt idx="11">
                  <c:v>228.38932494085844</c:v>
                </c:pt>
                <c:pt idx="12">
                  <c:v>296.02368560204343</c:v>
                </c:pt>
                <c:pt idx="13">
                  <c:v>349.72431495406471</c:v>
                </c:pt>
                <c:pt idx="14">
                  <c:v>4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D02-4FBF-96BE-21C465FA5D8D}"/>
            </c:ext>
          </c:extLst>
        </c:ser>
        <c:ser>
          <c:idx val="2"/>
          <c:order val="2"/>
          <c:spPr>
            <a:solidFill>
              <a:srgbClr val="FAAF3F"/>
            </a:solidFill>
            <a:ln>
              <a:noFill/>
            </a:ln>
          </c:spPr>
          <c:invertIfNegative val="0"/>
          <c:val>
            <c:numRef>
              <c:f>Sheet1!$A$3:$O$3</c:f>
              <c:numCache>
                <c:formatCode>General</c:formatCode>
                <c:ptCount val="15"/>
                <c:pt idx="0">
                  <c:v>120.21324363114459</c:v>
                </c:pt>
                <c:pt idx="1">
                  <c:v>138.86190048780489</c:v>
                </c:pt>
                <c:pt idx="2">
                  <c:v>136.74426642123257</c:v>
                </c:pt>
                <c:pt idx="3">
                  <c:v>167.13305761838635</c:v>
                </c:pt>
                <c:pt idx="4">
                  <c:v>140.78121297823864</c:v>
                </c:pt>
                <c:pt idx="5">
                  <c:v>161.20908696509562</c:v>
                </c:pt>
                <c:pt idx="6">
                  <c:v>176.28785923377706</c:v>
                </c:pt>
                <c:pt idx="7">
                  <c:v>164.89793721109396</c:v>
                </c:pt>
                <c:pt idx="8">
                  <c:v>183.15585882156844</c:v>
                </c:pt>
                <c:pt idx="9">
                  <c:v>117.43891271611291</c:v>
                </c:pt>
                <c:pt idx="10">
                  <c:v>96.457743716522458</c:v>
                </c:pt>
                <c:pt idx="11">
                  <c:v>49.585806015545792</c:v>
                </c:pt>
                <c:pt idx="12">
                  <c:v>57.755805562609218</c:v>
                </c:pt>
                <c:pt idx="13">
                  <c:v>77.962997153314362</c:v>
                </c:pt>
                <c:pt idx="14">
                  <c:v>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D02-4FBF-96BE-21C465FA5D8D}"/>
            </c:ext>
          </c:extLst>
        </c:ser>
        <c:ser>
          <c:idx val="3"/>
          <c:order val="3"/>
          <c:spPr>
            <a:solidFill>
              <a:srgbClr val="E27F20"/>
            </a:solidFill>
            <a:ln>
              <a:noFill/>
            </a:ln>
          </c:spPr>
          <c:invertIfNegative val="0"/>
          <c:val>
            <c:numRef>
              <c:f>Sheet1!$A$4:$O$4</c:f>
              <c:numCache>
                <c:formatCode>General</c:formatCode>
                <c:ptCount val="15"/>
                <c:pt idx="0">
                  <c:v>383.39130426982422</c:v>
                </c:pt>
                <c:pt idx="1">
                  <c:v>439.52502439024386</c:v>
                </c:pt>
                <c:pt idx="2">
                  <c:v>444.48082420781759</c:v>
                </c:pt>
                <c:pt idx="3">
                  <c:v>551.30174485298562</c:v>
                </c:pt>
                <c:pt idx="4">
                  <c:v>497.07584570665409</c:v>
                </c:pt>
                <c:pt idx="5">
                  <c:v>617.06723723131529</c:v>
                </c:pt>
                <c:pt idx="6">
                  <c:v>631.61081600820489</c:v>
                </c:pt>
                <c:pt idx="7">
                  <c:v>608.640753081664</c:v>
                </c:pt>
                <c:pt idx="8">
                  <c:v>688.3951016751397</c:v>
                </c:pt>
                <c:pt idx="9">
                  <c:v>688.72293513276531</c:v>
                </c:pt>
                <c:pt idx="10">
                  <c:v>642.46539266584261</c:v>
                </c:pt>
                <c:pt idx="11">
                  <c:v>553.08687619691341</c:v>
                </c:pt>
                <c:pt idx="12">
                  <c:v>567.37248868507925</c:v>
                </c:pt>
                <c:pt idx="13">
                  <c:v>534.35739568930455</c:v>
                </c:pt>
                <c:pt idx="14">
                  <c:v>5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D02-4FBF-96BE-21C465FA5D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03302592"/>
        <c:axId val="1703303680"/>
      </c:barChart>
      <c:catAx>
        <c:axId val="1703302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03303680"/>
        <c:crosses val="min"/>
        <c:auto val="0"/>
        <c:lblAlgn val="ctr"/>
        <c:lblOffset val="100"/>
        <c:noMultiLvlLbl val="0"/>
      </c:catAx>
      <c:valAx>
        <c:axId val="1703303680"/>
        <c:scaling>
          <c:orientation val="minMax"/>
          <c:max val="2422.496035955736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03302592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259198691741619E-2"/>
          <c:y val="3.9097744360902256E-2"/>
          <c:w val="0.95748160261651682"/>
          <c:h val="0.921804511278195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CCCCC"/>
            </a:solidFill>
            <a:ln>
              <a:noFill/>
            </a:ln>
          </c:spPr>
          <c:invertIfNegative val="0"/>
          <c:val>
            <c:numRef>
              <c:f>Sheet1!$A$1:$O$1</c:f>
              <c:numCache>
                <c:formatCode>General</c:formatCode>
                <c:ptCount val="15"/>
                <c:pt idx="0">
                  <c:v>268.56579476139217</c:v>
                </c:pt>
                <c:pt idx="1">
                  <c:v>311.59190926829268</c:v>
                </c:pt>
                <c:pt idx="2">
                  <c:v>337.53190407408101</c:v>
                </c:pt>
                <c:pt idx="3">
                  <c:v>397.72356418925722</c:v>
                </c:pt>
                <c:pt idx="4">
                  <c:v>438.23305499253667</c:v>
                </c:pt>
                <c:pt idx="5">
                  <c:v>1112.936479984224</c:v>
                </c:pt>
                <c:pt idx="6">
                  <c:v>1781.0714387513087</c:v>
                </c:pt>
                <c:pt idx="7">
                  <c:v>1943.3828162557775</c:v>
                </c:pt>
                <c:pt idx="8">
                  <c:v>2460.0183584465376</c:v>
                </c:pt>
                <c:pt idx="9">
                  <c:v>2526.842259583309</c:v>
                </c:pt>
                <c:pt idx="10">
                  <c:v>2707.0316316440053</c:v>
                </c:pt>
                <c:pt idx="11">
                  <c:v>3264.742004449703</c:v>
                </c:pt>
                <c:pt idx="12">
                  <c:v>5160.6129269720823</c:v>
                </c:pt>
                <c:pt idx="13">
                  <c:v>7502.1258972722762</c:v>
                </c:pt>
                <c:pt idx="14">
                  <c:v>8492.618279798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38-4D8F-8B7A-DC45B11CF093}"/>
            </c:ext>
          </c:extLst>
        </c:ser>
        <c:ser>
          <c:idx val="1"/>
          <c:order val="1"/>
          <c:spPr>
            <a:solidFill>
              <a:srgbClr val="E27F20"/>
            </a:solidFill>
            <a:ln>
              <a:noFill/>
            </a:ln>
          </c:spPr>
          <c:invertIfNegative val="0"/>
          <c:val>
            <c:numRef>
              <c:f>Sheet1!$A$2:$O$2</c:f>
              <c:numCache>
                <c:formatCode>General</c:formatCode>
                <c:ptCount val="15"/>
                <c:pt idx="0">
                  <c:v>1079.764513814137</c:v>
                </c:pt>
                <c:pt idx="1">
                  <c:v>1187.943771707317</c:v>
                </c:pt>
                <c:pt idx="2">
                  <c:v>2297.9250568192488</c:v>
                </c:pt>
                <c:pt idx="3">
                  <c:v>4323.6085747147254</c:v>
                </c:pt>
                <c:pt idx="4">
                  <c:v>2098.0432263335688</c:v>
                </c:pt>
                <c:pt idx="5">
                  <c:v>3170.9860207059755</c:v>
                </c:pt>
                <c:pt idx="6">
                  <c:v>5617.9786746650707</c:v>
                </c:pt>
                <c:pt idx="7">
                  <c:v>4616.2800604776567</c:v>
                </c:pt>
                <c:pt idx="8">
                  <c:v>5167.4165750479206</c:v>
                </c:pt>
                <c:pt idx="9">
                  <c:v>3902.0179076838035</c:v>
                </c:pt>
                <c:pt idx="10">
                  <c:v>3263.1333765966215</c:v>
                </c:pt>
                <c:pt idx="11">
                  <c:v>2690.1952007998193</c:v>
                </c:pt>
                <c:pt idx="12">
                  <c:v>4055.3177367320413</c:v>
                </c:pt>
                <c:pt idx="13">
                  <c:v>6823.5108474408462</c:v>
                </c:pt>
                <c:pt idx="14">
                  <c:v>6318.9209435683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838-4D8F-8B7A-DC45B11CF09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O$3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103.199</c:v>
                </c:pt>
                <c:pt idx="3">
                  <c:v>230.06299999999999</c:v>
                </c:pt>
                <c:pt idx="4">
                  <c:v>170.77699999999999</c:v>
                </c:pt>
                <c:pt idx="5">
                  <c:v>252.84899999999999</c:v>
                </c:pt>
                <c:pt idx="6">
                  <c:v>383.71144199910265</c:v>
                </c:pt>
                <c:pt idx="7">
                  <c:v>299.80862365177194</c:v>
                </c:pt>
                <c:pt idx="8">
                  <c:v>293.29565547128925</c:v>
                </c:pt>
                <c:pt idx="9">
                  <c:v>89.947368521377797</c:v>
                </c:pt>
                <c:pt idx="10">
                  <c:v>240.81104573547591</c:v>
                </c:pt>
                <c:pt idx="11">
                  <c:v>339.56867725582975</c:v>
                </c:pt>
                <c:pt idx="12">
                  <c:v>421.08821894931799</c:v>
                </c:pt>
                <c:pt idx="13">
                  <c:v>718.54786905246033</c:v>
                </c:pt>
                <c:pt idx="14">
                  <c:v>630.334737654676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838-4D8F-8B7A-DC45B11CF0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03288992"/>
        <c:axId val="1703291168"/>
      </c:barChart>
      <c:catAx>
        <c:axId val="17032889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03291168"/>
        <c:crosses val="min"/>
        <c:auto val="0"/>
        <c:lblAlgn val="ctr"/>
        <c:lblOffset val="100"/>
        <c:noMultiLvlLbl val="0"/>
      </c:catAx>
      <c:valAx>
        <c:axId val="1703291168"/>
        <c:scaling>
          <c:orientation val="minMax"/>
          <c:max val="8946.043560143360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03288992"/>
        <c:crosses val="min"/>
        <c:crossBetween val="between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523427041499332E-2"/>
          <c:y val="3.5254237288135593E-2"/>
          <c:w val="0.91767068273092367"/>
          <c:h val="0.92949152542372893"/>
        </c:manualLayout>
      </c:layout>
      <c:pieChart>
        <c:varyColors val="0"/>
        <c:ser>
          <c:idx val="0"/>
          <c:order val="0"/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434-4270-B71F-4D65B60CB560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434-4270-B71F-4D65B60CB560}"/>
              </c:ext>
            </c:extLst>
          </c:dPt>
          <c:dPt>
            <c:idx val="3"/>
            <c:bubble3D val="0"/>
            <c:spPr>
              <a:solidFill>
                <a:srgbClr val="CCCCC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434-4270-B71F-4D65B60CB560}"/>
              </c:ext>
            </c:extLst>
          </c:dPt>
          <c:dPt>
            <c:idx val="4"/>
            <c:bubble3D val="0"/>
            <c:spPr>
              <a:solidFill>
                <a:srgbClr val="F5B78D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434-4270-B71F-4D65B60CB560}"/>
              </c:ext>
            </c:extLst>
          </c:dPt>
          <c:dPt>
            <c:idx val="5"/>
            <c:bubble3D val="0"/>
            <c:spPr>
              <a:solidFill>
                <a:srgbClr val="FBD1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434-4270-B71F-4D65B60CB560}"/>
              </c:ext>
            </c:extLst>
          </c:dPt>
          <c:dPt>
            <c:idx val="6"/>
            <c:bubble3D val="0"/>
            <c:spPr>
              <a:solidFill>
                <a:srgbClr val="F8B13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434-4270-B71F-4D65B60CB560}"/>
              </c:ext>
            </c:extLst>
          </c:dPt>
          <c:dPt>
            <c:idx val="7"/>
            <c:bubble3D val="0"/>
            <c:spPr>
              <a:solidFill>
                <a:srgbClr val="FAAF3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434-4270-B71F-4D65B60CB560}"/>
              </c:ext>
            </c:extLst>
          </c:dPt>
          <c:dPt>
            <c:idx val="8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434-4270-B71F-4D65B60CB560}"/>
              </c:ext>
            </c:extLst>
          </c:dPt>
          <c:dPt>
            <c:idx val="9"/>
            <c:bubble3D val="0"/>
            <c:spPr>
              <a:solidFill>
                <a:srgbClr val="E27F2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434-4270-B71F-4D65B60CB560}"/>
              </c:ext>
            </c:extLst>
          </c:dPt>
          <c:dPt>
            <c:idx val="10"/>
            <c:bubble3D val="0"/>
            <c:spPr>
              <a:solidFill>
                <a:srgbClr val="F5B78D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434-4270-B71F-4D65B60CB560}"/>
              </c:ext>
            </c:extLst>
          </c:dPt>
          <c:dPt>
            <c:idx val="11"/>
            <c:bubble3D val="0"/>
            <c:spPr>
              <a:solidFill>
                <a:srgbClr val="FBD1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C434-4270-B71F-4D65B60CB560}"/>
              </c:ext>
            </c:extLst>
          </c:dPt>
          <c:dPt>
            <c:idx val="12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434-4270-B71F-4D65B60CB560}"/>
              </c:ext>
            </c:extLst>
          </c:dPt>
          <c:dLbls>
            <c:dLbl>
              <c:idx val="7"/>
              <c:layout>
                <c:manualLayout>
                  <c:x val="-0.15595716198125836"/>
                  <c:y val="0.1010169491525423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C434-4270-B71F-4D65B60CB56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-0.17737617135207498"/>
                  <c:y val="6.101694915254237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C434-4270-B71F-4D65B60CB56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-0.1894243641231593"/>
                  <c:y val="2.3050847457627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C434-4270-B71F-4D65B60CB56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-0.19143239625167335"/>
                  <c:y val="-8.813559322033898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C434-4270-B71F-4D65B60CB56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1"/>
              <c:layout>
                <c:manualLayout>
                  <c:x val="-0.18741633199464525"/>
                  <c:y val="-3.322033898305084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C434-4270-B71F-4D65B60CB56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13</c:f>
              <c:numCache>
                <c:formatCode>General</c:formatCode>
                <c:ptCount val="13"/>
                <c:pt idx="1">
                  <c:v>24.579340890390466</c:v>
                </c:pt>
                <c:pt idx="2">
                  <c:v>9.7718544115004047</c:v>
                </c:pt>
                <c:pt idx="3">
                  <c:v>9.0738091184623872</c:v>
                </c:pt>
                <c:pt idx="4">
                  <c:v>8.2597560482575112</c:v>
                </c:pt>
                <c:pt idx="5">
                  <c:v>6.9744177602713311</c:v>
                </c:pt>
                <c:pt idx="6">
                  <c:v>5.093008339753669</c:v>
                </c:pt>
                <c:pt idx="7">
                  <c:v>4.2055882723391429</c:v>
                </c:pt>
                <c:pt idx="8">
                  <c:v>3.4890907445504467</c:v>
                </c:pt>
                <c:pt idx="9">
                  <c:v>3.155861997421991</c:v>
                </c:pt>
                <c:pt idx="10">
                  <c:v>2.0198756281090668</c:v>
                </c:pt>
                <c:pt idx="11">
                  <c:v>2.0021655102896747</c:v>
                </c:pt>
                <c:pt idx="12">
                  <c:v>21.3752312786539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C434-4270-B71F-4D65B60CB5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54237288135593E-2"/>
          <c:y val="3.5254237288135593E-2"/>
          <c:w val="0.92949152542372893"/>
          <c:h val="0.92949152542372893"/>
        </c:manualLayout>
      </c:layout>
      <c:pieChart>
        <c:varyColors val="0"/>
        <c:ser>
          <c:idx val="0"/>
          <c:order val="0"/>
          <c:dPt>
            <c:idx val="1"/>
            <c:bubble3D val="0"/>
            <c:spPr>
              <a:solidFill>
                <a:srgbClr val="CCCCC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FDEE-4888-A43C-129543643F1E}"/>
              </c:ext>
            </c:extLst>
          </c:dPt>
          <c:dPt>
            <c:idx val="2"/>
            <c:bubble3D val="0"/>
            <c:spPr>
              <a:solidFill>
                <a:srgbClr val="F5B78D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DEE-4888-A43C-129543643F1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FDEE-4888-A43C-129543643F1E}"/>
              </c:ext>
            </c:extLst>
          </c:dPt>
          <c:dPt>
            <c:idx val="4"/>
            <c:bubble3D val="0"/>
            <c:spPr>
              <a:solidFill>
                <a:srgbClr val="FBD1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DEE-4888-A43C-129543643F1E}"/>
              </c:ext>
            </c:extLst>
          </c:dPt>
          <c:dPt>
            <c:idx val="5"/>
            <c:bubble3D val="0"/>
            <c:spPr>
              <a:solidFill>
                <a:srgbClr val="F8B13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FDEE-4888-A43C-129543643F1E}"/>
              </c:ext>
            </c:extLst>
          </c:dPt>
          <c:dPt>
            <c:idx val="6"/>
            <c:bubble3D val="0"/>
            <c:spPr>
              <a:solidFill>
                <a:srgbClr val="FAAF3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DEE-4888-A43C-129543643F1E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FDEE-4888-A43C-129543643F1E}"/>
              </c:ext>
            </c:extLst>
          </c:dPt>
          <c:dPt>
            <c:idx val="8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DEE-4888-A43C-129543643F1E}"/>
              </c:ext>
            </c:extLst>
          </c:dPt>
          <c:dPt>
            <c:idx val="9"/>
            <c:bubble3D val="0"/>
            <c:spPr>
              <a:solidFill>
                <a:srgbClr val="E27F2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FDEE-4888-A43C-129543643F1E}"/>
              </c:ext>
            </c:extLst>
          </c:dPt>
          <c:dPt>
            <c:idx val="10"/>
            <c:bubble3D val="0"/>
            <c:spPr>
              <a:solidFill>
                <a:srgbClr val="F5B78D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DEE-4888-A43C-129543643F1E}"/>
              </c:ext>
            </c:extLst>
          </c:dPt>
          <c:dPt>
            <c:idx val="11"/>
            <c:bubble3D val="0"/>
            <c:spPr>
              <a:solidFill>
                <a:srgbClr val="FBD1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FDEE-4888-A43C-129543643F1E}"/>
              </c:ext>
            </c:extLst>
          </c:dPt>
          <c:dPt>
            <c:idx val="12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FDEE-4888-A43C-129543643F1E}"/>
              </c:ext>
            </c:extLst>
          </c:dPt>
          <c:dLbls>
            <c:dLbl>
              <c:idx val="7"/>
              <c:layout>
                <c:manualLayout>
                  <c:x val="2.169491525423729E-2"/>
                  <c:y val="0.1932203389830508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FDEE-4888-A43C-129543643F1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-1.9661016949152541E-2"/>
                  <c:y val="0.1938983050847457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FDEE-4888-A43C-129543643F1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-5.4915254237288137E-2"/>
                  <c:y val="0.1816949152542372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FDEE-4888-A43C-129543643F1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13</c:f>
              <c:numCache>
                <c:formatCode>General</c:formatCode>
                <c:ptCount val="13"/>
                <c:pt idx="1">
                  <c:v>11.961722488038278</c:v>
                </c:pt>
                <c:pt idx="2">
                  <c:v>8.133971291866029</c:v>
                </c:pt>
                <c:pt idx="3">
                  <c:v>6.937799043062201</c:v>
                </c:pt>
                <c:pt idx="4">
                  <c:v>6.6985645933014357</c:v>
                </c:pt>
                <c:pt idx="5">
                  <c:v>6.4593301435406705</c:v>
                </c:pt>
                <c:pt idx="6">
                  <c:v>6.2200956937799043</c:v>
                </c:pt>
                <c:pt idx="7">
                  <c:v>3.5885167464114831</c:v>
                </c:pt>
                <c:pt idx="8">
                  <c:v>3.1100478468899522</c:v>
                </c:pt>
                <c:pt idx="9">
                  <c:v>3.1100478468899522</c:v>
                </c:pt>
                <c:pt idx="10">
                  <c:v>1.9138755980861244</c:v>
                </c:pt>
                <c:pt idx="11">
                  <c:v>0.9569377990430622</c:v>
                </c:pt>
                <c:pt idx="12">
                  <c:v>40.9090909090909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FDEE-4888-A43C-129543643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9487" cy="5145088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585648" y="3030738"/>
            <a:ext cx="3929702" cy="1056482"/>
          </a:xfrm>
        </p:spPr>
        <p:txBody>
          <a:bodyPr anchor="b">
            <a:normAutofit/>
          </a:bodyPr>
          <a:lstStyle>
            <a:lvl1pPr algn="ctr">
              <a:defRPr sz="2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8" name="Marcador de fecha 3"/>
          <p:cNvSpPr>
            <a:spLocks noGrp="1"/>
          </p:cNvSpPr>
          <p:nvPr>
            <p:ph type="dt" sz="half" idx="10"/>
          </p:nvPr>
        </p:nvSpPr>
        <p:spPr>
          <a:xfrm>
            <a:off x="6457949" y="4342226"/>
            <a:ext cx="2057400" cy="273928"/>
          </a:xfrm>
        </p:spPr>
        <p:txBody>
          <a:bodyPr/>
          <a:lstStyle>
            <a:lvl1pPr algn="r">
              <a:defRPr sz="1350"/>
            </a:lvl1pPr>
          </a:lstStyle>
          <a:p>
            <a:fld id="{0F86F518-3152-4C90-90BC-7D3E6D83F475}" type="datetimeFigureOut">
              <a:rPr lang="es-CL" smtClean="0"/>
              <a:pPr/>
              <a:t>30-04-20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519049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3006"/>
            <a:ext cx="2949178" cy="1200521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740798"/>
            <a:ext cx="4629150" cy="3656347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526"/>
            <a:ext cx="2949178" cy="285957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2842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61882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273928"/>
            <a:ext cx="1971675" cy="4360224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273928"/>
            <a:ext cx="5800725" cy="4360224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3696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1" y="273929"/>
            <a:ext cx="2800350" cy="994479"/>
          </a:xfrm>
        </p:spPr>
        <p:txBody>
          <a:bodyPr>
            <a:normAutofit/>
          </a:bodyPr>
          <a:lstStyle>
            <a:lvl1pPr>
              <a:defRPr sz="21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79376" y="1369642"/>
            <a:ext cx="4635974" cy="3264511"/>
          </a:xfrm>
        </p:spPr>
        <p:txBody>
          <a:bodyPr/>
          <a:lstStyle>
            <a:lvl2pPr>
              <a:defRPr>
                <a:solidFill>
                  <a:srgbClr val="FFC000"/>
                </a:solidFill>
              </a:defRPr>
            </a:lvl2pPr>
            <a:lvl3pPr>
              <a:defRPr>
                <a:solidFill>
                  <a:srgbClr val="FFC000"/>
                </a:solidFill>
              </a:defRPr>
            </a:lvl3pPr>
            <a:lvl4pPr>
              <a:defRPr>
                <a:solidFill>
                  <a:srgbClr val="FFC000"/>
                </a:solidFill>
              </a:defRPr>
            </a:lvl4pPr>
            <a:lvl5pPr>
              <a:defRPr>
                <a:solidFill>
                  <a:srgbClr val="FFC000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53974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7629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1" y="273929"/>
            <a:ext cx="2800350" cy="994479"/>
          </a:xfrm>
        </p:spPr>
        <p:txBody>
          <a:bodyPr>
            <a:normAutofit/>
          </a:bodyPr>
          <a:lstStyle>
            <a:lvl1pPr>
              <a:defRPr sz="21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79376" y="1369642"/>
            <a:ext cx="4635974" cy="3264511"/>
          </a:xfrm>
        </p:spPr>
        <p:txBody>
          <a:bodyPr/>
          <a:lstStyle>
            <a:lvl2pPr>
              <a:defRPr>
                <a:solidFill>
                  <a:srgbClr val="FFC000"/>
                </a:solidFill>
              </a:defRPr>
            </a:lvl2pPr>
            <a:lvl3pPr>
              <a:defRPr>
                <a:solidFill>
                  <a:srgbClr val="FFC000"/>
                </a:solidFill>
              </a:defRPr>
            </a:lvl3pPr>
            <a:lvl4pPr>
              <a:defRPr>
                <a:solidFill>
                  <a:srgbClr val="FFC000"/>
                </a:solidFill>
              </a:defRPr>
            </a:lvl4pPr>
            <a:lvl5pPr>
              <a:defRPr>
                <a:solidFill>
                  <a:srgbClr val="FFC000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190053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318295"/>
            <a:ext cx="7886700" cy="424656"/>
          </a:xfrm>
        </p:spPr>
        <p:txBody>
          <a:bodyPr anchor="b">
            <a:normAutofit/>
          </a:bodyPr>
          <a:lstStyle>
            <a:lvl1pPr>
              <a:defRPr sz="2100"/>
            </a:lvl1pPr>
          </a:lstStyle>
          <a:p>
            <a:r>
              <a:rPr lang="es-ES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835819"/>
            <a:ext cx="7886700" cy="373282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1767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369642"/>
            <a:ext cx="3886200" cy="326451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369642"/>
            <a:ext cx="3886200" cy="326451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31659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273929"/>
            <a:ext cx="7886700" cy="9944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261261"/>
            <a:ext cx="3868340" cy="61812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1879386"/>
            <a:ext cx="3868340" cy="276429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0" y="1261261"/>
            <a:ext cx="3887391" cy="61812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0" y="1879386"/>
            <a:ext cx="3887391" cy="276429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848254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833780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172275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3006"/>
            <a:ext cx="2949178" cy="1200521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740798"/>
            <a:ext cx="4629150" cy="365634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526"/>
            <a:ext cx="2949178" cy="285957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6F518-3152-4C90-90BC-7D3E6D83F475}" type="datetimeFigureOut">
              <a:rPr lang="es-CL" smtClean="0"/>
              <a:t>30-04-2019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3034-8F3D-4460-ADA4-94C0E0971E5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65732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"/>
            <a:ext cx="9144000" cy="5147629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273929"/>
            <a:ext cx="7886700" cy="9944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369642"/>
            <a:ext cx="7886700" cy="3264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Edit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28650" y="4768735"/>
            <a:ext cx="2057400" cy="2739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F86F518-3152-4C90-90BC-7D3E6D83F475}" type="datetimeFigureOut">
              <a:rPr lang="es-CL" smtClean="0"/>
              <a:pPr/>
              <a:t>30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028950" y="4768735"/>
            <a:ext cx="3086100" cy="2739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4768735"/>
            <a:ext cx="2057400" cy="2739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AE3034-8F3D-4460-ADA4-94C0E0971E5F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69449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FFC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oleObject" Target="../embeddings/oleObject3.bin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chart" Target="../charts/chart1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tags" Target="../tags/tag72.xml"/><Relationship Id="rId39" Type="http://schemas.openxmlformats.org/officeDocument/2006/relationships/tags" Target="../tags/tag85.xml"/><Relationship Id="rId21" Type="http://schemas.openxmlformats.org/officeDocument/2006/relationships/tags" Target="../tags/tag67.xml"/><Relationship Id="rId34" Type="http://schemas.openxmlformats.org/officeDocument/2006/relationships/tags" Target="../tags/tag80.xml"/><Relationship Id="rId42" Type="http://schemas.openxmlformats.org/officeDocument/2006/relationships/tags" Target="../tags/tag88.xml"/><Relationship Id="rId47" Type="http://schemas.openxmlformats.org/officeDocument/2006/relationships/tags" Target="../tags/tag93.xml"/><Relationship Id="rId50" Type="http://schemas.openxmlformats.org/officeDocument/2006/relationships/tags" Target="../tags/tag96.xml"/><Relationship Id="rId55" Type="http://schemas.openxmlformats.org/officeDocument/2006/relationships/tags" Target="../tags/tag101.xml"/><Relationship Id="rId63" Type="http://schemas.openxmlformats.org/officeDocument/2006/relationships/chart" Target="../charts/chart2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9" Type="http://schemas.openxmlformats.org/officeDocument/2006/relationships/tags" Target="../tags/tag75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32" Type="http://schemas.openxmlformats.org/officeDocument/2006/relationships/tags" Target="../tags/tag78.xml"/><Relationship Id="rId37" Type="http://schemas.openxmlformats.org/officeDocument/2006/relationships/tags" Target="../tags/tag83.xml"/><Relationship Id="rId40" Type="http://schemas.openxmlformats.org/officeDocument/2006/relationships/tags" Target="../tags/tag86.xml"/><Relationship Id="rId45" Type="http://schemas.openxmlformats.org/officeDocument/2006/relationships/tags" Target="../tags/tag91.xml"/><Relationship Id="rId53" Type="http://schemas.openxmlformats.org/officeDocument/2006/relationships/tags" Target="../tags/tag99.xml"/><Relationship Id="rId58" Type="http://schemas.openxmlformats.org/officeDocument/2006/relationships/tags" Target="../tags/tag104.xml"/><Relationship Id="rId5" Type="http://schemas.openxmlformats.org/officeDocument/2006/relationships/tags" Target="../tags/tag51.xml"/><Relationship Id="rId61" Type="http://schemas.openxmlformats.org/officeDocument/2006/relationships/oleObject" Target="../embeddings/oleObject5.bin"/><Relationship Id="rId19" Type="http://schemas.openxmlformats.org/officeDocument/2006/relationships/tags" Target="../tags/tag6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tags" Target="../tags/tag73.xml"/><Relationship Id="rId30" Type="http://schemas.openxmlformats.org/officeDocument/2006/relationships/tags" Target="../tags/tag76.xml"/><Relationship Id="rId35" Type="http://schemas.openxmlformats.org/officeDocument/2006/relationships/tags" Target="../tags/tag81.xml"/><Relationship Id="rId43" Type="http://schemas.openxmlformats.org/officeDocument/2006/relationships/tags" Target="../tags/tag89.xml"/><Relationship Id="rId48" Type="http://schemas.openxmlformats.org/officeDocument/2006/relationships/tags" Target="../tags/tag94.xml"/><Relationship Id="rId56" Type="http://schemas.openxmlformats.org/officeDocument/2006/relationships/tags" Target="../tags/tag102.xml"/><Relationship Id="rId8" Type="http://schemas.openxmlformats.org/officeDocument/2006/relationships/tags" Target="../tags/tag54.xml"/><Relationship Id="rId51" Type="http://schemas.openxmlformats.org/officeDocument/2006/relationships/tags" Target="../tags/tag97.xml"/><Relationship Id="rId3" Type="http://schemas.openxmlformats.org/officeDocument/2006/relationships/tags" Target="../tags/tag49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tags" Target="../tags/tag71.xml"/><Relationship Id="rId33" Type="http://schemas.openxmlformats.org/officeDocument/2006/relationships/tags" Target="../tags/tag79.xml"/><Relationship Id="rId38" Type="http://schemas.openxmlformats.org/officeDocument/2006/relationships/tags" Target="../tags/tag84.xml"/><Relationship Id="rId46" Type="http://schemas.openxmlformats.org/officeDocument/2006/relationships/tags" Target="../tags/tag92.xml"/><Relationship Id="rId59" Type="http://schemas.openxmlformats.org/officeDocument/2006/relationships/tags" Target="../tags/tag105.xml"/><Relationship Id="rId20" Type="http://schemas.openxmlformats.org/officeDocument/2006/relationships/tags" Target="../tags/tag66.xml"/><Relationship Id="rId41" Type="http://schemas.openxmlformats.org/officeDocument/2006/relationships/tags" Target="../tags/tag87.xml"/><Relationship Id="rId54" Type="http://schemas.openxmlformats.org/officeDocument/2006/relationships/tags" Target="../tags/tag100.xml"/><Relationship Id="rId62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tags" Target="../tags/tag74.xml"/><Relationship Id="rId36" Type="http://schemas.openxmlformats.org/officeDocument/2006/relationships/tags" Target="../tags/tag82.xml"/><Relationship Id="rId49" Type="http://schemas.openxmlformats.org/officeDocument/2006/relationships/tags" Target="../tags/tag95.xml"/><Relationship Id="rId57" Type="http://schemas.openxmlformats.org/officeDocument/2006/relationships/tags" Target="../tags/tag103.xml"/><Relationship Id="rId10" Type="http://schemas.openxmlformats.org/officeDocument/2006/relationships/tags" Target="../tags/tag56.xml"/><Relationship Id="rId31" Type="http://schemas.openxmlformats.org/officeDocument/2006/relationships/tags" Target="../tags/tag77.xml"/><Relationship Id="rId44" Type="http://schemas.openxmlformats.org/officeDocument/2006/relationships/tags" Target="../tags/tag90.xml"/><Relationship Id="rId52" Type="http://schemas.openxmlformats.org/officeDocument/2006/relationships/tags" Target="../tags/tag98.xml"/><Relationship Id="rId60" Type="http://schemas.openxmlformats.org/officeDocument/2006/relationships/slideLayout" Target="../slideLayouts/slideLayout2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130.xml"/><Relationship Id="rId21" Type="http://schemas.openxmlformats.org/officeDocument/2006/relationships/tags" Target="../tags/tag125.xml"/><Relationship Id="rId42" Type="http://schemas.openxmlformats.org/officeDocument/2006/relationships/tags" Target="../tags/tag146.xml"/><Relationship Id="rId47" Type="http://schemas.openxmlformats.org/officeDocument/2006/relationships/tags" Target="../tags/tag151.xml"/><Relationship Id="rId63" Type="http://schemas.openxmlformats.org/officeDocument/2006/relationships/tags" Target="../tags/tag167.xml"/><Relationship Id="rId68" Type="http://schemas.openxmlformats.org/officeDocument/2006/relationships/oleObject" Target="../embeddings/oleObject6.bin"/><Relationship Id="rId7" Type="http://schemas.openxmlformats.org/officeDocument/2006/relationships/tags" Target="../tags/tag111.xml"/><Relationship Id="rId71" Type="http://schemas.openxmlformats.org/officeDocument/2006/relationships/chart" Target="../charts/chart4.xml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9" Type="http://schemas.openxmlformats.org/officeDocument/2006/relationships/tags" Target="../tags/tag133.xml"/><Relationship Id="rId11" Type="http://schemas.openxmlformats.org/officeDocument/2006/relationships/tags" Target="../tags/tag115.xml"/><Relationship Id="rId24" Type="http://schemas.openxmlformats.org/officeDocument/2006/relationships/tags" Target="../tags/tag128.xml"/><Relationship Id="rId32" Type="http://schemas.openxmlformats.org/officeDocument/2006/relationships/tags" Target="../tags/tag136.xml"/><Relationship Id="rId37" Type="http://schemas.openxmlformats.org/officeDocument/2006/relationships/tags" Target="../tags/tag141.xml"/><Relationship Id="rId40" Type="http://schemas.openxmlformats.org/officeDocument/2006/relationships/tags" Target="../tags/tag144.xml"/><Relationship Id="rId45" Type="http://schemas.openxmlformats.org/officeDocument/2006/relationships/tags" Target="../tags/tag149.xml"/><Relationship Id="rId53" Type="http://schemas.openxmlformats.org/officeDocument/2006/relationships/tags" Target="../tags/tag157.xml"/><Relationship Id="rId58" Type="http://schemas.openxmlformats.org/officeDocument/2006/relationships/tags" Target="../tags/tag162.xml"/><Relationship Id="rId66" Type="http://schemas.openxmlformats.org/officeDocument/2006/relationships/tags" Target="../tags/tag170.xml"/><Relationship Id="rId5" Type="http://schemas.openxmlformats.org/officeDocument/2006/relationships/tags" Target="../tags/tag109.xml"/><Relationship Id="rId61" Type="http://schemas.openxmlformats.org/officeDocument/2006/relationships/tags" Target="../tags/tag165.xml"/><Relationship Id="rId19" Type="http://schemas.openxmlformats.org/officeDocument/2006/relationships/tags" Target="../tags/tag123.xml"/><Relationship Id="rId14" Type="http://schemas.openxmlformats.org/officeDocument/2006/relationships/tags" Target="../tags/tag118.xml"/><Relationship Id="rId22" Type="http://schemas.openxmlformats.org/officeDocument/2006/relationships/tags" Target="../tags/tag126.xml"/><Relationship Id="rId27" Type="http://schemas.openxmlformats.org/officeDocument/2006/relationships/tags" Target="../tags/tag131.xml"/><Relationship Id="rId30" Type="http://schemas.openxmlformats.org/officeDocument/2006/relationships/tags" Target="../tags/tag134.xml"/><Relationship Id="rId35" Type="http://schemas.openxmlformats.org/officeDocument/2006/relationships/tags" Target="../tags/tag139.xml"/><Relationship Id="rId43" Type="http://schemas.openxmlformats.org/officeDocument/2006/relationships/tags" Target="../tags/tag147.xml"/><Relationship Id="rId48" Type="http://schemas.openxmlformats.org/officeDocument/2006/relationships/tags" Target="../tags/tag152.xml"/><Relationship Id="rId56" Type="http://schemas.openxmlformats.org/officeDocument/2006/relationships/tags" Target="../tags/tag160.xml"/><Relationship Id="rId64" Type="http://schemas.openxmlformats.org/officeDocument/2006/relationships/tags" Target="../tags/tag168.xml"/><Relationship Id="rId69" Type="http://schemas.openxmlformats.org/officeDocument/2006/relationships/image" Target="../media/image4.emf"/><Relationship Id="rId8" Type="http://schemas.openxmlformats.org/officeDocument/2006/relationships/tags" Target="../tags/tag112.xml"/><Relationship Id="rId51" Type="http://schemas.openxmlformats.org/officeDocument/2006/relationships/tags" Target="../tags/tag155.xml"/><Relationship Id="rId3" Type="http://schemas.openxmlformats.org/officeDocument/2006/relationships/tags" Target="../tags/tag107.xml"/><Relationship Id="rId12" Type="http://schemas.openxmlformats.org/officeDocument/2006/relationships/tags" Target="../tags/tag116.xml"/><Relationship Id="rId17" Type="http://schemas.openxmlformats.org/officeDocument/2006/relationships/tags" Target="../tags/tag121.xml"/><Relationship Id="rId25" Type="http://schemas.openxmlformats.org/officeDocument/2006/relationships/tags" Target="../tags/tag129.xml"/><Relationship Id="rId33" Type="http://schemas.openxmlformats.org/officeDocument/2006/relationships/tags" Target="../tags/tag137.xml"/><Relationship Id="rId38" Type="http://schemas.openxmlformats.org/officeDocument/2006/relationships/tags" Target="../tags/tag142.xml"/><Relationship Id="rId46" Type="http://schemas.openxmlformats.org/officeDocument/2006/relationships/tags" Target="../tags/tag150.xml"/><Relationship Id="rId59" Type="http://schemas.openxmlformats.org/officeDocument/2006/relationships/tags" Target="../tags/tag163.xml"/><Relationship Id="rId67" Type="http://schemas.openxmlformats.org/officeDocument/2006/relationships/slideLayout" Target="../slideLayouts/slideLayout2.xml"/><Relationship Id="rId20" Type="http://schemas.openxmlformats.org/officeDocument/2006/relationships/tags" Target="../tags/tag124.xml"/><Relationship Id="rId41" Type="http://schemas.openxmlformats.org/officeDocument/2006/relationships/tags" Target="../tags/tag145.xml"/><Relationship Id="rId54" Type="http://schemas.openxmlformats.org/officeDocument/2006/relationships/tags" Target="../tags/tag158.xml"/><Relationship Id="rId62" Type="http://schemas.openxmlformats.org/officeDocument/2006/relationships/tags" Target="../tags/tag166.xml"/><Relationship Id="rId70" Type="http://schemas.openxmlformats.org/officeDocument/2006/relationships/chart" Target="../charts/chart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0.xml"/><Relationship Id="rId15" Type="http://schemas.openxmlformats.org/officeDocument/2006/relationships/tags" Target="../tags/tag119.xml"/><Relationship Id="rId23" Type="http://schemas.openxmlformats.org/officeDocument/2006/relationships/tags" Target="../tags/tag127.xml"/><Relationship Id="rId28" Type="http://schemas.openxmlformats.org/officeDocument/2006/relationships/tags" Target="../tags/tag132.xml"/><Relationship Id="rId36" Type="http://schemas.openxmlformats.org/officeDocument/2006/relationships/tags" Target="../tags/tag140.xml"/><Relationship Id="rId49" Type="http://schemas.openxmlformats.org/officeDocument/2006/relationships/tags" Target="../tags/tag153.xml"/><Relationship Id="rId57" Type="http://schemas.openxmlformats.org/officeDocument/2006/relationships/tags" Target="../tags/tag161.xml"/><Relationship Id="rId10" Type="http://schemas.openxmlformats.org/officeDocument/2006/relationships/tags" Target="../tags/tag114.xml"/><Relationship Id="rId31" Type="http://schemas.openxmlformats.org/officeDocument/2006/relationships/tags" Target="../tags/tag135.xml"/><Relationship Id="rId44" Type="http://schemas.openxmlformats.org/officeDocument/2006/relationships/tags" Target="../tags/tag148.xml"/><Relationship Id="rId52" Type="http://schemas.openxmlformats.org/officeDocument/2006/relationships/tags" Target="../tags/tag156.xml"/><Relationship Id="rId60" Type="http://schemas.openxmlformats.org/officeDocument/2006/relationships/tags" Target="../tags/tag164.xml"/><Relationship Id="rId65" Type="http://schemas.openxmlformats.org/officeDocument/2006/relationships/tags" Target="../tags/tag169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3" Type="http://schemas.openxmlformats.org/officeDocument/2006/relationships/tags" Target="../tags/tag117.xml"/><Relationship Id="rId18" Type="http://schemas.openxmlformats.org/officeDocument/2006/relationships/tags" Target="../tags/tag122.xml"/><Relationship Id="rId39" Type="http://schemas.openxmlformats.org/officeDocument/2006/relationships/tags" Target="../tags/tag143.xml"/><Relationship Id="rId34" Type="http://schemas.openxmlformats.org/officeDocument/2006/relationships/tags" Target="../tags/tag138.xml"/><Relationship Id="rId50" Type="http://schemas.openxmlformats.org/officeDocument/2006/relationships/tags" Target="../tags/tag154.xml"/><Relationship Id="rId55" Type="http://schemas.openxmlformats.org/officeDocument/2006/relationships/tags" Target="../tags/tag159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195.xml"/><Relationship Id="rId21" Type="http://schemas.openxmlformats.org/officeDocument/2006/relationships/tags" Target="../tags/tag190.xml"/><Relationship Id="rId42" Type="http://schemas.openxmlformats.org/officeDocument/2006/relationships/tags" Target="../tags/tag211.xml"/><Relationship Id="rId47" Type="http://schemas.openxmlformats.org/officeDocument/2006/relationships/tags" Target="../tags/tag216.xml"/><Relationship Id="rId63" Type="http://schemas.openxmlformats.org/officeDocument/2006/relationships/tags" Target="../tags/tag232.xml"/><Relationship Id="rId68" Type="http://schemas.openxmlformats.org/officeDocument/2006/relationships/tags" Target="../tags/tag237.xml"/><Relationship Id="rId84" Type="http://schemas.openxmlformats.org/officeDocument/2006/relationships/tags" Target="../tags/tag253.xml"/><Relationship Id="rId89" Type="http://schemas.openxmlformats.org/officeDocument/2006/relationships/tags" Target="../tags/tag258.xml"/><Relationship Id="rId16" Type="http://schemas.openxmlformats.org/officeDocument/2006/relationships/tags" Target="../tags/tag185.xml"/><Relationship Id="rId11" Type="http://schemas.openxmlformats.org/officeDocument/2006/relationships/tags" Target="../tags/tag180.xml"/><Relationship Id="rId32" Type="http://schemas.openxmlformats.org/officeDocument/2006/relationships/tags" Target="../tags/tag201.xml"/><Relationship Id="rId37" Type="http://schemas.openxmlformats.org/officeDocument/2006/relationships/tags" Target="../tags/tag206.xml"/><Relationship Id="rId53" Type="http://schemas.openxmlformats.org/officeDocument/2006/relationships/tags" Target="../tags/tag222.xml"/><Relationship Id="rId58" Type="http://schemas.openxmlformats.org/officeDocument/2006/relationships/tags" Target="../tags/tag227.xml"/><Relationship Id="rId74" Type="http://schemas.openxmlformats.org/officeDocument/2006/relationships/tags" Target="../tags/tag243.xml"/><Relationship Id="rId79" Type="http://schemas.openxmlformats.org/officeDocument/2006/relationships/tags" Target="../tags/tag248.xml"/><Relationship Id="rId102" Type="http://schemas.openxmlformats.org/officeDocument/2006/relationships/chart" Target="../charts/chart5.xml"/><Relationship Id="rId5" Type="http://schemas.openxmlformats.org/officeDocument/2006/relationships/tags" Target="../tags/tag174.xml"/><Relationship Id="rId90" Type="http://schemas.openxmlformats.org/officeDocument/2006/relationships/tags" Target="../tags/tag259.xml"/><Relationship Id="rId95" Type="http://schemas.openxmlformats.org/officeDocument/2006/relationships/tags" Target="../tags/tag264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43" Type="http://schemas.openxmlformats.org/officeDocument/2006/relationships/tags" Target="../tags/tag212.xml"/><Relationship Id="rId48" Type="http://schemas.openxmlformats.org/officeDocument/2006/relationships/tags" Target="../tags/tag217.xml"/><Relationship Id="rId64" Type="http://schemas.openxmlformats.org/officeDocument/2006/relationships/tags" Target="../tags/tag233.xml"/><Relationship Id="rId69" Type="http://schemas.openxmlformats.org/officeDocument/2006/relationships/tags" Target="../tags/tag238.xml"/><Relationship Id="rId80" Type="http://schemas.openxmlformats.org/officeDocument/2006/relationships/tags" Target="../tags/tag249.xml"/><Relationship Id="rId85" Type="http://schemas.openxmlformats.org/officeDocument/2006/relationships/tags" Target="../tags/tag254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33" Type="http://schemas.openxmlformats.org/officeDocument/2006/relationships/tags" Target="../tags/tag202.xml"/><Relationship Id="rId38" Type="http://schemas.openxmlformats.org/officeDocument/2006/relationships/tags" Target="../tags/tag207.xml"/><Relationship Id="rId46" Type="http://schemas.openxmlformats.org/officeDocument/2006/relationships/tags" Target="../tags/tag215.xml"/><Relationship Id="rId59" Type="http://schemas.openxmlformats.org/officeDocument/2006/relationships/tags" Target="../tags/tag228.xml"/><Relationship Id="rId67" Type="http://schemas.openxmlformats.org/officeDocument/2006/relationships/tags" Target="../tags/tag236.xml"/><Relationship Id="rId103" Type="http://schemas.openxmlformats.org/officeDocument/2006/relationships/chart" Target="../charts/chart6.xml"/><Relationship Id="rId20" Type="http://schemas.openxmlformats.org/officeDocument/2006/relationships/tags" Target="../tags/tag189.xml"/><Relationship Id="rId41" Type="http://schemas.openxmlformats.org/officeDocument/2006/relationships/tags" Target="../tags/tag210.xml"/><Relationship Id="rId54" Type="http://schemas.openxmlformats.org/officeDocument/2006/relationships/tags" Target="../tags/tag223.xml"/><Relationship Id="rId62" Type="http://schemas.openxmlformats.org/officeDocument/2006/relationships/tags" Target="../tags/tag231.xml"/><Relationship Id="rId70" Type="http://schemas.openxmlformats.org/officeDocument/2006/relationships/tags" Target="../tags/tag239.xml"/><Relationship Id="rId75" Type="http://schemas.openxmlformats.org/officeDocument/2006/relationships/tags" Target="../tags/tag244.xml"/><Relationship Id="rId83" Type="http://schemas.openxmlformats.org/officeDocument/2006/relationships/tags" Target="../tags/tag252.xml"/><Relationship Id="rId88" Type="http://schemas.openxmlformats.org/officeDocument/2006/relationships/tags" Target="../tags/tag257.xml"/><Relationship Id="rId91" Type="http://schemas.openxmlformats.org/officeDocument/2006/relationships/tags" Target="../tags/tag260.xml"/><Relationship Id="rId96" Type="http://schemas.openxmlformats.org/officeDocument/2006/relationships/tags" Target="../tags/tag26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75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36" Type="http://schemas.openxmlformats.org/officeDocument/2006/relationships/tags" Target="../tags/tag205.xml"/><Relationship Id="rId49" Type="http://schemas.openxmlformats.org/officeDocument/2006/relationships/tags" Target="../tags/tag218.xml"/><Relationship Id="rId57" Type="http://schemas.openxmlformats.org/officeDocument/2006/relationships/tags" Target="../tags/tag226.xml"/><Relationship Id="rId10" Type="http://schemas.openxmlformats.org/officeDocument/2006/relationships/tags" Target="../tags/tag179.xml"/><Relationship Id="rId31" Type="http://schemas.openxmlformats.org/officeDocument/2006/relationships/tags" Target="../tags/tag200.xml"/><Relationship Id="rId44" Type="http://schemas.openxmlformats.org/officeDocument/2006/relationships/tags" Target="../tags/tag213.xml"/><Relationship Id="rId52" Type="http://schemas.openxmlformats.org/officeDocument/2006/relationships/tags" Target="../tags/tag221.xml"/><Relationship Id="rId60" Type="http://schemas.openxmlformats.org/officeDocument/2006/relationships/tags" Target="../tags/tag229.xml"/><Relationship Id="rId65" Type="http://schemas.openxmlformats.org/officeDocument/2006/relationships/tags" Target="../tags/tag234.xml"/><Relationship Id="rId73" Type="http://schemas.openxmlformats.org/officeDocument/2006/relationships/tags" Target="../tags/tag242.xml"/><Relationship Id="rId78" Type="http://schemas.openxmlformats.org/officeDocument/2006/relationships/tags" Target="../tags/tag247.xml"/><Relationship Id="rId81" Type="http://schemas.openxmlformats.org/officeDocument/2006/relationships/tags" Target="../tags/tag250.xml"/><Relationship Id="rId86" Type="http://schemas.openxmlformats.org/officeDocument/2006/relationships/tags" Target="../tags/tag255.xml"/><Relationship Id="rId94" Type="http://schemas.openxmlformats.org/officeDocument/2006/relationships/tags" Target="../tags/tag263.xml"/><Relationship Id="rId99" Type="http://schemas.openxmlformats.org/officeDocument/2006/relationships/slideLayout" Target="../slideLayouts/slideLayout2.xml"/><Relationship Id="rId101" Type="http://schemas.openxmlformats.org/officeDocument/2006/relationships/image" Target="../media/image4.emf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39" Type="http://schemas.openxmlformats.org/officeDocument/2006/relationships/tags" Target="../tags/tag208.xml"/><Relationship Id="rId34" Type="http://schemas.openxmlformats.org/officeDocument/2006/relationships/tags" Target="../tags/tag203.xml"/><Relationship Id="rId50" Type="http://schemas.openxmlformats.org/officeDocument/2006/relationships/tags" Target="../tags/tag219.xml"/><Relationship Id="rId55" Type="http://schemas.openxmlformats.org/officeDocument/2006/relationships/tags" Target="../tags/tag224.xml"/><Relationship Id="rId76" Type="http://schemas.openxmlformats.org/officeDocument/2006/relationships/tags" Target="../tags/tag245.xml"/><Relationship Id="rId97" Type="http://schemas.openxmlformats.org/officeDocument/2006/relationships/tags" Target="../tags/tag266.xml"/><Relationship Id="rId7" Type="http://schemas.openxmlformats.org/officeDocument/2006/relationships/tags" Target="../tags/tag176.xml"/><Relationship Id="rId71" Type="http://schemas.openxmlformats.org/officeDocument/2006/relationships/tags" Target="../tags/tag240.xml"/><Relationship Id="rId92" Type="http://schemas.openxmlformats.org/officeDocument/2006/relationships/tags" Target="../tags/tag261.xml"/><Relationship Id="rId2" Type="http://schemas.openxmlformats.org/officeDocument/2006/relationships/tags" Target="../tags/tag171.xml"/><Relationship Id="rId29" Type="http://schemas.openxmlformats.org/officeDocument/2006/relationships/tags" Target="../tags/tag198.xml"/><Relationship Id="rId24" Type="http://schemas.openxmlformats.org/officeDocument/2006/relationships/tags" Target="../tags/tag193.xml"/><Relationship Id="rId40" Type="http://schemas.openxmlformats.org/officeDocument/2006/relationships/tags" Target="../tags/tag209.xml"/><Relationship Id="rId45" Type="http://schemas.openxmlformats.org/officeDocument/2006/relationships/tags" Target="../tags/tag214.xml"/><Relationship Id="rId66" Type="http://schemas.openxmlformats.org/officeDocument/2006/relationships/tags" Target="../tags/tag235.xml"/><Relationship Id="rId87" Type="http://schemas.openxmlformats.org/officeDocument/2006/relationships/tags" Target="../tags/tag256.xml"/><Relationship Id="rId61" Type="http://schemas.openxmlformats.org/officeDocument/2006/relationships/tags" Target="../tags/tag230.xml"/><Relationship Id="rId82" Type="http://schemas.openxmlformats.org/officeDocument/2006/relationships/tags" Target="../tags/tag251.xml"/><Relationship Id="rId19" Type="http://schemas.openxmlformats.org/officeDocument/2006/relationships/tags" Target="../tags/tag188.xml"/><Relationship Id="rId14" Type="http://schemas.openxmlformats.org/officeDocument/2006/relationships/tags" Target="../tags/tag183.xml"/><Relationship Id="rId30" Type="http://schemas.openxmlformats.org/officeDocument/2006/relationships/tags" Target="../tags/tag199.xml"/><Relationship Id="rId35" Type="http://schemas.openxmlformats.org/officeDocument/2006/relationships/tags" Target="../tags/tag204.xml"/><Relationship Id="rId56" Type="http://schemas.openxmlformats.org/officeDocument/2006/relationships/tags" Target="../tags/tag225.xml"/><Relationship Id="rId77" Type="http://schemas.openxmlformats.org/officeDocument/2006/relationships/tags" Target="../tags/tag246.xml"/><Relationship Id="rId100" Type="http://schemas.openxmlformats.org/officeDocument/2006/relationships/oleObject" Target="../embeddings/oleObject7.bin"/><Relationship Id="rId8" Type="http://schemas.openxmlformats.org/officeDocument/2006/relationships/tags" Target="../tags/tag177.xml"/><Relationship Id="rId51" Type="http://schemas.openxmlformats.org/officeDocument/2006/relationships/tags" Target="../tags/tag220.xml"/><Relationship Id="rId72" Type="http://schemas.openxmlformats.org/officeDocument/2006/relationships/tags" Target="../tags/tag241.xml"/><Relationship Id="rId93" Type="http://schemas.openxmlformats.org/officeDocument/2006/relationships/tags" Target="../tags/tag262.xml"/><Relationship Id="rId98" Type="http://schemas.openxmlformats.org/officeDocument/2006/relationships/tags" Target="../tags/tag267.xml"/><Relationship Id="rId3" Type="http://schemas.openxmlformats.org/officeDocument/2006/relationships/tags" Target="../tags/tag17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79.xml"/><Relationship Id="rId18" Type="http://schemas.openxmlformats.org/officeDocument/2006/relationships/tags" Target="../tags/tag284.xml"/><Relationship Id="rId26" Type="http://schemas.openxmlformats.org/officeDocument/2006/relationships/tags" Target="../tags/tag292.xml"/><Relationship Id="rId39" Type="http://schemas.openxmlformats.org/officeDocument/2006/relationships/tags" Target="../tags/tag305.xml"/><Relationship Id="rId21" Type="http://schemas.openxmlformats.org/officeDocument/2006/relationships/tags" Target="../tags/tag287.xml"/><Relationship Id="rId34" Type="http://schemas.openxmlformats.org/officeDocument/2006/relationships/tags" Target="../tags/tag300.xml"/><Relationship Id="rId42" Type="http://schemas.openxmlformats.org/officeDocument/2006/relationships/tags" Target="../tags/tag308.xml"/><Relationship Id="rId47" Type="http://schemas.openxmlformats.org/officeDocument/2006/relationships/oleObject" Target="../embeddings/oleObject8.bin"/><Relationship Id="rId50" Type="http://schemas.openxmlformats.org/officeDocument/2006/relationships/chart" Target="../charts/chart8.xml"/><Relationship Id="rId7" Type="http://schemas.openxmlformats.org/officeDocument/2006/relationships/tags" Target="../tags/tag273.xml"/><Relationship Id="rId2" Type="http://schemas.openxmlformats.org/officeDocument/2006/relationships/tags" Target="../tags/tag268.xml"/><Relationship Id="rId16" Type="http://schemas.openxmlformats.org/officeDocument/2006/relationships/tags" Target="../tags/tag282.xml"/><Relationship Id="rId29" Type="http://schemas.openxmlformats.org/officeDocument/2006/relationships/tags" Target="../tags/tag295.xml"/><Relationship Id="rId11" Type="http://schemas.openxmlformats.org/officeDocument/2006/relationships/tags" Target="../tags/tag277.xml"/><Relationship Id="rId24" Type="http://schemas.openxmlformats.org/officeDocument/2006/relationships/tags" Target="../tags/tag290.xml"/><Relationship Id="rId32" Type="http://schemas.openxmlformats.org/officeDocument/2006/relationships/tags" Target="../tags/tag298.xml"/><Relationship Id="rId37" Type="http://schemas.openxmlformats.org/officeDocument/2006/relationships/tags" Target="../tags/tag303.xml"/><Relationship Id="rId40" Type="http://schemas.openxmlformats.org/officeDocument/2006/relationships/tags" Target="../tags/tag306.xml"/><Relationship Id="rId45" Type="http://schemas.openxmlformats.org/officeDocument/2006/relationships/tags" Target="../tags/tag311.xml"/><Relationship Id="rId5" Type="http://schemas.openxmlformats.org/officeDocument/2006/relationships/tags" Target="../tags/tag271.xml"/><Relationship Id="rId15" Type="http://schemas.openxmlformats.org/officeDocument/2006/relationships/tags" Target="../tags/tag281.xml"/><Relationship Id="rId23" Type="http://schemas.openxmlformats.org/officeDocument/2006/relationships/tags" Target="../tags/tag289.xml"/><Relationship Id="rId28" Type="http://schemas.openxmlformats.org/officeDocument/2006/relationships/tags" Target="../tags/tag294.xml"/><Relationship Id="rId36" Type="http://schemas.openxmlformats.org/officeDocument/2006/relationships/tags" Target="../tags/tag302.xml"/><Relationship Id="rId49" Type="http://schemas.openxmlformats.org/officeDocument/2006/relationships/chart" Target="../charts/chart7.xml"/><Relationship Id="rId10" Type="http://schemas.openxmlformats.org/officeDocument/2006/relationships/tags" Target="../tags/tag276.xml"/><Relationship Id="rId19" Type="http://schemas.openxmlformats.org/officeDocument/2006/relationships/tags" Target="../tags/tag285.xml"/><Relationship Id="rId31" Type="http://schemas.openxmlformats.org/officeDocument/2006/relationships/tags" Target="../tags/tag297.xml"/><Relationship Id="rId44" Type="http://schemas.openxmlformats.org/officeDocument/2006/relationships/tags" Target="../tags/tag310.xml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tags" Target="../tags/tag280.xml"/><Relationship Id="rId22" Type="http://schemas.openxmlformats.org/officeDocument/2006/relationships/tags" Target="../tags/tag288.xml"/><Relationship Id="rId27" Type="http://schemas.openxmlformats.org/officeDocument/2006/relationships/tags" Target="../tags/tag293.xml"/><Relationship Id="rId30" Type="http://schemas.openxmlformats.org/officeDocument/2006/relationships/tags" Target="../tags/tag296.xml"/><Relationship Id="rId35" Type="http://schemas.openxmlformats.org/officeDocument/2006/relationships/tags" Target="../tags/tag301.xml"/><Relationship Id="rId43" Type="http://schemas.openxmlformats.org/officeDocument/2006/relationships/tags" Target="../tags/tag309.xml"/><Relationship Id="rId48" Type="http://schemas.openxmlformats.org/officeDocument/2006/relationships/image" Target="../media/image4.emf"/><Relationship Id="rId8" Type="http://schemas.openxmlformats.org/officeDocument/2006/relationships/tags" Target="../tags/tag274.xml"/><Relationship Id="rId3" Type="http://schemas.openxmlformats.org/officeDocument/2006/relationships/tags" Target="../tags/tag269.xml"/><Relationship Id="rId12" Type="http://schemas.openxmlformats.org/officeDocument/2006/relationships/tags" Target="../tags/tag278.xml"/><Relationship Id="rId17" Type="http://schemas.openxmlformats.org/officeDocument/2006/relationships/tags" Target="../tags/tag283.xml"/><Relationship Id="rId25" Type="http://schemas.openxmlformats.org/officeDocument/2006/relationships/tags" Target="../tags/tag291.xml"/><Relationship Id="rId33" Type="http://schemas.openxmlformats.org/officeDocument/2006/relationships/tags" Target="../tags/tag299.xml"/><Relationship Id="rId38" Type="http://schemas.openxmlformats.org/officeDocument/2006/relationships/tags" Target="../tags/tag304.xml"/><Relationship Id="rId46" Type="http://schemas.openxmlformats.org/officeDocument/2006/relationships/slideLayout" Target="../slideLayouts/slideLayout2.xml"/><Relationship Id="rId20" Type="http://schemas.openxmlformats.org/officeDocument/2006/relationships/tags" Target="../tags/tag286.xml"/><Relationship Id="rId41" Type="http://schemas.openxmlformats.org/officeDocument/2006/relationships/tags" Target="../tags/tag307.xml"/><Relationship Id="rId1" Type="http://schemas.openxmlformats.org/officeDocument/2006/relationships/vmlDrawing" Target="../drawings/vmlDrawing8.vml"/><Relationship Id="rId6" Type="http://schemas.openxmlformats.org/officeDocument/2006/relationships/tags" Target="../tags/tag2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xmlns="" id="{1BC0A78B-1E5F-4E33-9511-E9F6A2353A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86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C6D708B8-3F51-432D-A043-F2BCCC6A4C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1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C8713EB5-5080-4BB3-99F6-0D7BA8B23D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5648" y="3429573"/>
            <a:ext cx="3929702" cy="1056482"/>
          </a:xfrm>
        </p:spPr>
        <p:txBody>
          <a:bodyPr>
            <a:normAutofit fontScale="90000"/>
          </a:bodyPr>
          <a:lstStyle/>
          <a:p>
            <a:r>
              <a:rPr lang="es-C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FORME TRIMESTRAL</a:t>
            </a:r>
            <a:br>
              <a:rPr lang="es-CL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s-C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NDOS DE INVERSIÓN PÚBLICOS</a:t>
            </a:r>
            <a:br>
              <a:rPr lang="es-CL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s-CL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es-CL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s-CL" sz="18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CIEMBRE 2018</a:t>
            </a:r>
            <a:endParaRPr lang="es-CL" b="1" dirty="0"/>
          </a:p>
        </p:txBody>
      </p:sp>
    </p:spTree>
    <p:extLst>
      <p:ext uri="{BB962C8B-B14F-4D97-AF65-F5344CB8AC3E}">
        <p14:creationId xmlns:p14="http://schemas.microsoft.com/office/powerpoint/2010/main" val="1130664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xmlns="" id="{D61E57BB-E680-4001-A020-90F4975093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673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xmlns="" id="{C64D55F8-C510-4330-AD4B-5B8485C31E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1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4E39C70-C5FF-416D-A3BD-C08B133CA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L" sz="2000" b="1" dirty="0">
                <a:solidFill>
                  <a:srgbClr val="FFA300"/>
                </a:solidFill>
              </a:rPr>
              <a:t>RESULTADOS GENERALES</a:t>
            </a:r>
            <a:r>
              <a:rPr lang="es-CL" sz="2000" dirty="0"/>
              <a:t/>
            </a:r>
            <a:br>
              <a:rPr lang="es-CL" sz="2000" dirty="0"/>
            </a:br>
            <a:r>
              <a:rPr lang="es-CL" sz="1200" b="1" dirty="0"/>
              <a:t>DICIEMBRE 2018</a:t>
            </a:r>
            <a:endParaRPr lang="es-CL" sz="2000" b="1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xmlns="" id="{3F54C59E-8C43-4A47-B861-2AAECB1070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CL" sz="1400" dirty="0"/>
              <a:t>Con la implementación de la LUF en 2014, la industria de fondos de inversión públicos ha crecido fuertemente, llegando a administrar activos por MUS$ 27.770 hacia fines de 2018 (+11% vs 2017)</a:t>
            </a:r>
          </a:p>
        </p:txBody>
      </p:sp>
    </p:spTree>
    <p:extLst>
      <p:ext uri="{BB962C8B-B14F-4D97-AF65-F5344CB8AC3E}">
        <p14:creationId xmlns:p14="http://schemas.microsoft.com/office/powerpoint/2010/main" val="2620561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xmlns="" id="{5743C16E-357E-48EF-B868-C1EA6F0BB6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750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Diapositiva de think-cell" r:id="rId19" imgW="421" imgH="423" progId="TCLayout.ActiveDocument.1">
                  <p:embed/>
                </p:oleObj>
              </mc:Choice>
              <mc:Fallback>
                <p:oleObj name="Diapositiva de think-cell" r:id="rId19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ángulo 40" hidden="1">
            <a:extLst>
              <a:ext uri="{FF2B5EF4-FFF2-40B4-BE49-F238E27FC236}">
                <a16:creationId xmlns:a16="http://schemas.microsoft.com/office/drawing/2014/main" xmlns="" id="{CDF7047F-2F9A-47C6-899E-CFE563A2AE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xmlns="" id="{B9D66F8B-620A-4FD5-B24A-40659669724B}"/>
              </a:ext>
            </a:extLst>
          </p:cNvPr>
          <p:cNvSpPr txBox="1">
            <a:spLocks/>
          </p:cNvSpPr>
          <p:nvPr/>
        </p:nvSpPr>
        <p:spPr>
          <a:xfrm>
            <a:off x="628650" y="273929"/>
            <a:ext cx="7256483" cy="9944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CL" sz="2000" b="1" dirty="0">
                <a:solidFill>
                  <a:srgbClr val="FFA300"/>
                </a:solidFill>
              </a:rPr>
              <a:t>RESULTADOS GENERALES</a:t>
            </a:r>
            <a:r>
              <a:rPr lang="es-CL" sz="2000" dirty="0"/>
              <a:t/>
            </a:r>
            <a:br>
              <a:rPr lang="es-CL" sz="2000" dirty="0"/>
            </a:br>
            <a:r>
              <a:rPr lang="es-CL" sz="1200" b="1" dirty="0"/>
              <a:t>Año 2018</a:t>
            </a:r>
            <a:endParaRPr lang="es-CL" sz="2000" b="1" dirty="0"/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xmlns="" id="{9D2FCE0C-75EE-4350-94FF-E6B5826EBA1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58800" y="2513013"/>
            <a:ext cx="1800225" cy="746125"/>
          </a:xfrm>
          <a:prstGeom prst="roundRect">
            <a:avLst>
              <a:gd name="adj" fmla="val 24043"/>
            </a:avLst>
          </a:prstGeom>
          <a:solidFill>
            <a:srgbClr val="E27F20"/>
          </a:solidFill>
          <a:ln w="9525" algn="ctr">
            <a:solidFill>
              <a:schemeClr val="bg1"/>
            </a:solidFill>
          </a:ln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Arial" panose="020B0604020202020204" pitchFamily="34" charset="0"/>
              </a:rPr>
              <a:t>Mobiliario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MUS$ 16.496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Fondos 156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AGF 27</a:t>
            </a:r>
            <a:endParaRPr lang="es-CL" sz="16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59C329A1-ACB0-4239-8D87-25E0B723685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638425" y="2513013"/>
            <a:ext cx="1800225" cy="746125"/>
          </a:xfrm>
          <a:prstGeom prst="roundRect">
            <a:avLst>
              <a:gd name="adj" fmla="val 24043"/>
            </a:avLst>
          </a:prstGeom>
          <a:solidFill>
            <a:srgbClr val="E27F20"/>
          </a:solidFill>
          <a:ln w="9525" algn="ctr">
            <a:solidFill>
              <a:schemeClr val="bg1"/>
            </a:solidFill>
          </a:ln>
        </p:spPr>
        <p:txBody>
          <a:bodyPr vert="horz" wrap="none" lIns="0" tIns="20638" rIns="1588" bIns="20638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Arial" panose="020B0604020202020204" pitchFamily="34" charset="0"/>
              </a:rPr>
              <a:t>Inmobiliario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MUS$ 3.518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Fondos 82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AGF 25</a:t>
            </a:r>
            <a:endParaRPr lang="es-CL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xmlns="" id="{45D2432C-D779-42C0-8C37-06680AD5E6D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796088" y="2513013"/>
            <a:ext cx="1800225" cy="746125"/>
          </a:xfrm>
          <a:prstGeom prst="roundRect">
            <a:avLst>
              <a:gd name="adj" fmla="val 24043"/>
            </a:avLst>
          </a:prstGeom>
          <a:solidFill>
            <a:srgbClr val="E27F20"/>
          </a:solidFill>
          <a:ln w="9525" algn="ctr">
            <a:solidFill>
              <a:schemeClr val="bg1"/>
            </a:solidFill>
          </a:ln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Arial" panose="020B0604020202020204" pitchFamily="34" charset="0"/>
              </a:rPr>
              <a:t>Capital Privad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MUS$ 6.623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Fondos 155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AGF 30</a:t>
            </a:r>
            <a:endParaRPr lang="es-CL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xmlns="" id="{D3FAFF19-DF8D-4234-8307-F96AF6088EC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716463" y="2513013"/>
            <a:ext cx="1800225" cy="746125"/>
          </a:xfrm>
          <a:prstGeom prst="roundRect">
            <a:avLst>
              <a:gd name="adj" fmla="val 24043"/>
            </a:avLst>
          </a:prstGeom>
          <a:solidFill>
            <a:srgbClr val="E27F20"/>
          </a:solidFill>
          <a:ln w="9525" algn="ctr">
            <a:solidFill>
              <a:schemeClr val="bg1"/>
            </a:solidFill>
          </a:ln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200" b="1" dirty="0">
                <a:solidFill>
                  <a:schemeClr val="bg1"/>
                </a:solidFill>
                <a:sym typeface="Arial" panose="020B0604020202020204" pitchFamily="34" charset="0"/>
              </a:rPr>
              <a:t>Otros Fondo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MUS$ 1.133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Fondos 25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050" dirty="0" err="1">
                <a:solidFill>
                  <a:schemeClr val="bg1"/>
                </a:solidFill>
                <a:sym typeface="Arial" panose="020B0604020202020204" pitchFamily="34" charset="0"/>
              </a:rPr>
              <a:t>N°</a:t>
            </a:r>
            <a:r>
              <a:rPr lang="es-CL" sz="1050" dirty="0">
                <a:solidFill>
                  <a:schemeClr val="bg1"/>
                </a:solidFill>
                <a:sym typeface="Arial" panose="020B0604020202020204" pitchFamily="34" charset="0"/>
              </a:rPr>
              <a:t> AGF 13</a:t>
            </a:r>
            <a:endParaRPr lang="es-CL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3" name="Marcador de texto 2">
            <a:extLst>
              <a:ext uri="{FF2B5EF4-FFF2-40B4-BE49-F238E27FC236}">
                <a16:creationId xmlns:a16="http://schemas.microsoft.com/office/drawing/2014/main" xmlns="" id="{160B8ADF-494E-402D-9564-BA8D389A226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51200" y="1241425"/>
            <a:ext cx="2633663" cy="746125"/>
          </a:xfrm>
          <a:prstGeom prst="roundRect">
            <a:avLst>
              <a:gd name="adj" fmla="val 24043"/>
            </a:avLst>
          </a:prstGeom>
          <a:solidFill>
            <a:srgbClr val="CCCCCC"/>
          </a:solidFill>
          <a:ln w="9525" algn="ctr">
            <a:solidFill>
              <a:schemeClr val="bg1"/>
            </a:solidFill>
          </a:ln>
        </p:spPr>
        <p:txBody>
          <a:bodyPr vert="horz" wrap="none" lIns="1588" tIns="3175" rIns="0" bIns="34925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100" b="1" dirty="0">
                <a:sym typeface="Arial" panose="020B0604020202020204" pitchFamily="34" charset="0"/>
              </a:rPr>
              <a:t>Fondos de Inversión Público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100" dirty="0">
                <a:sym typeface="Arial" panose="020B0604020202020204" pitchFamily="34" charset="0"/>
              </a:rPr>
              <a:t>MUS$ 27.770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100" dirty="0" err="1">
                <a:sym typeface="Arial" panose="020B0604020202020204" pitchFamily="34" charset="0"/>
              </a:rPr>
              <a:t>N°</a:t>
            </a:r>
            <a:r>
              <a:rPr lang="es-CL" sz="1100" dirty="0">
                <a:sym typeface="Arial" panose="020B0604020202020204" pitchFamily="34" charset="0"/>
              </a:rPr>
              <a:t> Fondos 418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1100" dirty="0" err="1">
                <a:sym typeface="Arial" panose="020B0604020202020204" pitchFamily="34" charset="0"/>
              </a:rPr>
              <a:t>N°</a:t>
            </a:r>
            <a:r>
              <a:rPr lang="es-CL" sz="1100" dirty="0">
                <a:sym typeface="Arial" panose="020B0604020202020204" pitchFamily="34" charset="0"/>
              </a:rPr>
              <a:t> AGF 45</a:t>
            </a:r>
            <a:endParaRPr lang="es-CL" sz="1400" dirty="0">
              <a:sym typeface="Arial" panose="020B0604020202020204" pitchFamily="34" charset="0"/>
            </a:endParaRP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xmlns="" id="{63DF069B-2656-476B-893D-1CF138409A7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55688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Accionario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6.319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67 </a:t>
            </a:r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xmlns="" id="{C15AEC5E-8356-4C45-BCE2-99A046D8DBB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3825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Deuda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9.547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74 </a:t>
            </a:r>
          </a:p>
        </p:txBody>
      </p:sp>
      <p:sp>
        <p:nvSpPr>
          <p:cNvPr id="34" name="Marcador de texto 2">
            <a:extLst>
              <a:ext uri="{FF2B5EF4-FFF2-40B4-BE49-F238E27FC236}">
                <a16:creationId xmlns:a16="http://schemas.microsoft.com/office/drawing/2014/main" xmlns="" id="{C110982E-56F1-4839-8A94-AAC909393E2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997075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Mixto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630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15 </a:t>
            </a:r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xmlns="" id="{AD7F0650-065F-4D77-9069-BAF1FCCCDC2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70350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Desarroll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448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36 </a:t>
            </a:r>
          </a:p>
        </p:txBody>
      </p:sp>
      <p:sp>
        <p:nvSpPr>
          <p:cNvPr id="36" name="Marcador de texto 2">
            <a:extLst>
              <a:ext uri="{FF2B5EF4-FFF2-40B4-BE49-F238E27FC236}">
                <a16:creationId xmlns:a16="http://schemas.microsoft.com/office/drawing/2014/main" xmlns="" id="{E0D1D956-AD84-498D-BC67-DAE7A148A5E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35313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Renta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2.463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32 </a:t>
            </a:r>
          </a:p>
        </p:txBody>
      </p:sp>
      <p:sp>
        <p:nvSpPr>
          <p:cNvPr id="37" name="Marcador de texto 2">
            <a:extLst>
              <a:ext uri="{FF2B5EF4-FFF2-40B4-BE49-F238E27FC236}">
                <a16:creationId xmlns:a16="http://schemas.microsoft.com/office/drawing/2014/main" xmlns="" id="{42F0697D-1CAA-4758-8AD3-1B06354AC5B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05388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Plusvalía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75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6</a:t>
            </a:r>
          </a:p>
        </p:txBody>
      </p:sp>
      <p:sp>
        <p:nvSpPr>
          <p:cNvPr id="38" name="Marcador de texto 2">
            <a:extLst>
              <a:ext uri="{FF2B5EF4-FFF2-40B4-BE49-F238E27FC236}">
                <a16:creationId xmlns:a16="http://schemas.microsoft.com/office/drawing/2014/main" xmlns="" id="{D0FE101C-FF38-468E-9215-BEEDE972A59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62775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 err="1">
                <a:sym typeface="Arial" panose="020B0604020202020204" pitchFamily="34" charset="0"/>
              </a:rPr>
              <a:t>Feeders</a:t>
            </a:r>
            <a:endParaRPr lang="es-CL" sz="900" b="1" dirty="0">
              <a:sym typeface="Arial" panose="020B060402020202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4.645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116</a:t>
            </a:r>
          </a:p>
        </p:txBody>
      </p:sp>
      <p:sp>
        <p:nvSpPr>
          <p:cNvPr id="39" name="Marcador de texto 2">
            <a:extLst>
              <a:ext uri="{FF2B5EF4-FFF2-40B4-BE49-F238E27FC236}">
                <a16:creationId xmlns:a16="http://schemas.microsoft.com/office/drawing/2014/main" xmlns="" id="{ED23A2D2-10AB-4475-8C32-D7D9E206530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40425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Mixt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532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8 </a:t>
            </a:r>
          </a:p>
        </p:txBody>
      </p:sp>
      <p:sp>
        <p:nvSpPr>
          <p:cNvPr id="40" name="Marcador de texto 2">
            <a:extLst>
              <a:ext uri="{FF2B5EF4-FFF2-40B4-BE49-F238E27FC236}">
                <a16:creationId xmlns:a16="http://schemas.microsoft.com/office/drawing/2014/main" xmlns="" id="{703D316E-FB22-4CAD-8530-F045FB9DA66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889875" y="4122738"/>
            <a:ext cx="808038" cy="746125"/>
          </a:xfrm>
          <a:prstGeom prst="roundRect">
            <a:avLst>
              <a:gd name="adj" fmla="val 24043"/>
            </a:avLst>
          </a:prstGeom>
          <a:solidFill>
            <a:srgbClr val="FAAF3F"/>
          </a:solidFill>
          <a:ln w="9525" algn="ctr">
            <a:solidFill>
              <a:schemeClr val="bg1"/>
            </a:solidFill>
          </a:ln>
        </p:spPr>
        <p:txBody>
          <a:bodyPr vert="horz" wrap="none" lIns="0" tIns="163513" rIns="0" bIns="163513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900" b="1" dirty="0">
                <a:sym typeface="Arial" panose="020B0604020202020204" pitchFamily="34" charset="0"/>
              </a:rPr>
              <a:t>Sin </a:t>
            </a:r>
            <a:r>
              <a:rPr lang="es-CL" sz="900" b="1" dirty="0" err="1">
                <a:sym typeface="Arial" panose="020B0604020202020204" pitchFamily="34" charset="0"/>
              </a:rPr>
              <a:t>Feeders</a:t>
            </a:r>
            <a:endParaRPr lang="es-CL" sz="900" b="1" dirty="0">
              <a:sym typeface="Arial" panose="020B060402020202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>
                <a:sym typeface="Arial" panose="020B0604020202020204" pitchFamily="34" charset="0"/>
              </a:rPr>
              <a:t>MUS$ 1.978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sz="700" dirty="0" err="1">
                <a:sym typeface="Arial" panose="020B0604020202020204" pitchFamily="34" charset="0"/>
              </a:rPr>
              <a:t>N°</a:t>
            </a:r>
            <a:r>
              <a:rPr lang="es-CL" sz="700" dirty="0">
                <a:sym typeface="Arial" panose="020B0604020202020204" pitchFamily="34" charset="0"/>
              </a:rPr>
              <a:t> Fondos 39</a:t>
            </a:r>
          </a:p>
        </p:txBody>
      </p:sp>
      <p:cxnSp>
        <p:nvCxnSpPr>
          <p:cNvPr id="43" name="Conector: angular 42">
            <a:extLst>
              <a:ext uri="{FF2B5EF4-FFF2-40B4-BE49-F238E27FC236}">
                <a16:creationId xmlns:a16="http://schemas.microsoft.com/office/drawing/2014/main" xmlns="" id="{1028612A-01BA-481E-A824-261E55B46367}"/>
              </a:ext>
            </a:extLst>
          </p:cNvPr>
          <p:cNvCxnSpPr>
            <a:cxnSpLocks/>
            <a:stCxn id="9" idx="2"/>
            <a:endCxn id="29" idx="0"/>
          </p:cNvCxnSpPr>
          <p:nvPr/>
        </p:nvCxnSpPr>
        <p:spPr>
          <a:xfrm rot="5400000">
            <a:off x="561579" y="3225404"/>
            <a:ext cx="863600" cy="93106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: angular 45">
            <a:extLst>
              <a:ext uri="{FF2B5EF4-FFF2-40B4-BE49-F238E27FC236}">
                <a16:creationId xmlns:a16="http://schemas.microsoft.com/office/drawing/2014/main" xmlns="" id="{E22B41AF-2AE1-42BF-9819-3F1D8065F93F}"/>
              </a:ext>
            </a:extLst>
          </p:cNvPr>
          <p:cNvCxnSpPr>
            <a:cxnSpLocks/>
            <a:stCxn id="9" idx="2"/>
            <a:endCxn id="28" idx="0"/>
          </p:cNvCxnSpPr>
          <p:nvPr/>
        </p:nvCxnSpPr>
        <p:spPr>
          <a:xfrm rot="16200000" flipH="1">
            <a:off x="1027510" y="3690541"/>
            <a:ext cx="863600" cy="79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: angular 48">
            <a:extLst>
              <a:ext uri="{FF2B5EF4-FFF2-40B4-BE49-F238E27FC236}">
                <a16:creationId xmlns:a16="http://schemas.microsoft.com/office/drawing/2014/main" xmlns="" id="{10B183DF-C920-4EBD-BB11-718CED8ABBAF}"/>
              </a:ext>
            </a:extLst>
          </p:cNvPr>
          <p:cNvCxnSpPr>
            <a:cxnSpLocks/>
            <a:stCxn id="9" idx="2"/>
            <a:endCxn id="34" idx="0"/>
          </p:cNvCxnSpPr>
          <p:nvPr/>
        </p:nvCxnSpPr>
        <p:spPr>
          <a:xfrm rot="16200000" flipH="1">
            <a:off x="1498203" y="3219847"/>
            <a:ext cx="863600" cy="94218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: angular 51">
            <a:extLst>
              <a:ext uri="{FF2B5EF4-FFF2-40B4-BE49-F238E27FC236}">
                <a16:creationId xmlns:a16="http://schemas.microsoft.com/office/drawing/2014/main" xmlns="" id="{2CD78E8D-F822-4BDD-B2E7-EA787EE8DC1E}"/>
              </a:ext>
            </a:extLst>
          </p:cNvPr>
          <p:cNvCxnSpPr>
            <a:cxnSpLocks/>
            <a:stCxn id="13" idx="2"/>
            <a:endCxn id="11" idx="0"/>
          </p:cNvCxnSpPr>
          <p:nvPr/>
        </p:nvCxnSpPr>
        <p:spPr>
          <a:xfrm rot="16200000" flipH="1">
            <a:off x="5869385" y="686196"/>
            <a:ext cx="525463" cy="312816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: angular 54">
            <a:extLst>
              <a:ext uri="{FF2B5EF4-FFF2-40B4-BE49-F238E27FC236}">
                <a16:creationId xmlns:a16="http://schemas.microsoft.com/office/drawing/2014/main" xmlns="" id="{B3F5EFCC-4B86-4AED-901A-5BD8DFB1327C}"/>
              </a:ext>
            </a:extLst>
          </p:cNvPr>
          <p:cNvCxnSpPr>
            <a:cxnSpLocks/>
            <a:stCxn id="13" idx="2"/>
            <a:endCxn id="12" idx="0"/>
          </p:cNvCxnSpPr>
          <p:nvPr/>
        </p:nvCxnSpPr>
        <p:spPr>
          <a:xfrm rot="16200000" flipH="1">
            <a:off x="4829573" y="1726009"/>
            <a:ext cx="525463" cy="104854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: angular 57">
            <a:extLst>
              <a:ext uri="{FF2B5EF4-FFF2-40B4-BE49-F238E27FC236}">
                <a16:creationId xmlns:a16="http://schemas.microsoft.com/office/drawing/2014/main" xmlns="" id="{22E34B4B-48AF-4227-99E6-EACF4BDB2A1C}"/>
              </a:ext>
            </a:extLst>
          </p:cNvPr>
          <p:cNvCxnSpPr>
            <a:cxnSpLocks/>
            <a:stCxn id="13" idx="2"/>
            <a:endCxn id="10" idx="0"/>
          </p:cNvCxnSpPr>
          <p:nvPr/>
        </p:nvCxnSpPr>
        <p:spPr>
          <a:xfrm rot="5400000">
            <a:off x="3790554" y="1735534"/>
            <a:ext cx="525463" cy="102949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: angular 60">
            <a:extLst>
              <a:ext uri="{FF2B5EF4-FFF2-40B4-BE49-F238E27FC236}">
                <a16:creationId xmlns:a16="http://schemas.microsoft.com/office/drawing/2014/main" xmlns="" id="{060C5C38-DE68-4120-AB2D-628AC931A158}"/>
              </a:ext>
            </a:extLst>
          </p:cNvPr>
          <p:cNvCxnSpPr>
            <a:cxnSpLocks/>
            <a:stCxn id="13" idx="2"/>
            <a:endCxn id="9" idx="0"/>
          </p:cNvCxnSpPr>
          <p:nvPr/>
        </p:nvCxnSpPr>
        <p:spPr>
          <a:xfrm rot="5400000">
            <a:off x="2750742" y="695722"/>
            <a:ext cx="525463" cy="310911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: angular 63">
            <a:extLst>
              <a:ext uri="{FF2B5EF4-FFF2-40B4-BE49-F238E27FC236}">
                <a16:creationId xmlns:a16="http://schemas.microsoft.com/office/drawing/2014/main" xmlns="" id="{728E7E2F-4C28-4DA3-AB7F-8717BA610D91}"/>
              </a:ext>
            </a:extLst>
          </p:cNvPr>
          <p:cNvCxnSpPr>
            <a:cxnSpLocks/>
            <a:stCxn id="10" idx="2"/>
            <a:endCxn id="35" idx="0"/>
          </p:cNvCxnSpPr>
          <p:nvPr/>
        </p:nvCxnSpPr>
        <p:spPr>
          <a:xfrm rot="16200000" flipH="1">
            <a:off x="3574653" y="3223022"/>
            <a:ext cx="863600" cy="93583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: angular 66">
            <a:extLst>
              <a:ext uri="{FF2B5EF4-FFF2-40B4-BE49-F238E27FC236}">
                <a16:creationId xmlns:a16="http://schemas.microsoft.com/office/drawing/2014/main" xmlns="" id="{DA5CC832-07E1-490E-9A17-8BF33F5CC5C6}"/>
              </a:ext>
            </a:extLst>
          </p:cNvPr>
          <p:cNvCxnSpPr>
            <a:cxnSpLocks/>
            <a:stCxn id="10" idx="2"/>
            <a:endCxn id="36" idx="0"/>
          </p:cNvCxnSpPr>
          <p:nvPr/>
        </p:nvCxnSpPr>
        <p:spPr>
          <a:xfrm rot="16200000" flipH="1">
            <a:off x="3107135" y="3690541"/>
            <a:ext cx="863600" cy="79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: angular 69">
            <a:extLst>
              <a:ext uri="{FF2B5EF4-FFF2-40B4-BE49-F238E27FC236}">
                <a16:creationId xmlns:a16="http://schemas.microsoft.com/office/drawing/2014/main" xmlns="" id="{4B20E338-97F9-45C0-94C5-209E5AECF939}"/>
              </a:ext>
            </a:extLst>
          </p:cNvPr>
          <p:cNvCxnSpPr>
            <a:cxnSpLocks/>
            <a:stCxn id="10" idx="2"/>
            <a:endCxn id="37" idx="0"/>
          </p:cNvCxnSpPr>
          <p:nvPr/>
        </p:nvCxnSpPr>
        <p:spPr>
          <a:xfrm rot="16200000" flipH="1">
            <a:off x="4042172" y="2755503"/>
            <a:ext cx="863600" cy="1870869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: angular 72">
            <a:extLst>
              <a:ext uri="{FF2B5EF4-FFF2-40B4-BE49-F238E27FC236}">
                <a16:creationId xmlns:a16="http://schemas.microsoft.com/office/drawing/2014/main" xmlns="" id="{07DA787D-1FA7-4461-AA14-4DA6363B122C}"/>
              </a:ext>
            </a:extLst>
          </p:cNvPr>
          <p:cNvCxnSpPr>
            <a:cxnSpLocks/>
            <a:stCxn id="10" idx="2"/>
            <a:endCxn id="39" idx="0"/>
          </p:cNvCxnSpPr>
          <p:nvPr/>
        </p:nvCxnSpPr>
        <p:spPr>
          <a:xfrm rot="16200000" flipH="1">
            <a:off x="4509691" y="2287985"/>
            <a:ext cx="863600" cy="280590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r 75">
            <a:extLst>
              <a:ext uri="{FF2B5EF4-FFF2-40B4-BE49-F238E27FC236}">
                <a16:creationId xmlns:a16="http://schemas.microsoft.com/office/drawing/2014/main" xmlns="" id="{5529AA73-414B-45AD-86BE-F8947EB9D255}"/>
              </a:ext>
            </a:extLst>
          </p:cNvPr>
          <p:cNvCxnSpPr>
            <a:cxnSpLocks/>
            <a:stCxn id="11" idx="2"/>
            <a:endCxn id="38" idx="0"/>
          </p:cNvCxnSpPr>
          <p:nvPr/>
        </p:nvCxnSpPr>
        <p:spPr>
          <a:xfrm rot="5400000">
            <a:off x="7099698" y="3526235"/>
            <a:ext cx="863600" cy="329407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: angular 78">
            <a:extLst>
              <a:ext uri="{FF2B5EF4-FFF2-40B4-BE49-F238E27FC236}">
                <a16:creationId xmlns:a16="http://schemas.microsoft.com/office/drawing/2014/main" xmlns="" id="{8BA03740-615F-416A-94B5-0F8BFAFA6752}"/>
              </a:ext>
            </a:extLst>
          </p:cNvPr>
          <p:cNvCxnSpPr>
            <a:cxnSpLocks/>
            <a:stCxn id="11" idx="2"/>
            <a:endCxn id="40" idx="0"/>
          </p:cNvCxnSpPr>
          <p:nvPr/>
        </p:nvCxnSpPr>
        <p:spPr>
          <a:xfrm rot="16200000" flipH="1">
            <a:off x="7563247" y="3392091"/>
            <a:ext cx="863600" cy="597693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1689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xmlns="" id="{28B2A7E2-AD6D-4E5B-BF03-7224B090BD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609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Diapositiva de think-cell" r:id="rId29" imgW="421" imgH="423" progId="TCLayout.ActiveDocument.1">
                  <p:embed/>
                </p:oleObj>
              </mc:Choice>
              <mc:Fallback>
                <p:oleObj name="Diapositiva de think-cell" r:id="rId29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xmlns="" id="{8DEBC2FB-DED4-4C1B-BF7F-9F13683E35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539561C7-97B3-48EE-B265-5C6F81A3F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929"/>
            <a:ext cx="7256483" cy="994479"/>
          </a:xfrm>
        </p:spPr>
        <p:txBody>
          <a:bodyPr>
            <a:normAutofit/>
          </a:bodyPr>
          <a:lstStyle/>
          <a:p>
            <a:r>
              <a:rPr lang="es-CL" sz="2000" b="1" dirty="0">
                <a:solidFill>
                  <a:srgbClr val="FFA300"/>
                </a:solidFill>
              </a:rPr>
              <a:t>RESULTADOS GENERALES</a:t>
            </a:r>
            <a:r>
              <a:rPr lang="es-CL" sz="2000" dirty="0"/>
              <a:t/>
            </a:r>
            <a:br>
              <a:rPr lang="es-CL" sz="2000" dirty="0"/>
            </a:br>
            <a:r>
              <a:rPr lang="es-CL" sz="1200" b="1" dirty="0"/>
              <a:t>AUM crece 11% en US$ entre 2017 y 2018 (25% en CLP) y 14% en número de fondos</a:t>
            </a:r>
            <a:br>
              <a:rPr lang="es-CL" sz="1200" b="1" dirty="0"/>
            </a:br>
            <a:r>
              <a:rPr lang="es-CL" sz="1200" b="1" dirty="0"/>
              <a:t>El tipo de cambio CLP/US$ varió un +5% entre 2017 y 2018</a:t>
            </a:r>
            <a:endParaRPr lang="es-CL" sz="2000" b="1" dirty="0"/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xmlns="" id="{2512E639-6D7A-4F46-A486-81E92D8B3D95}"/>
              </a:ext>
            </a:extLst>
          </p:cNvPr>
          <p:cNvSpPr txBox="1"/>
          <p:nvPr/>
        </p:nvSpPr>
        <p:spPr>
          <a:xfrm>
            <a:off x="628650" y="1373188"/>
            <a:ext cx="78866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Total Activos Administrados Fondos de Inversión Públicos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millones de dólares, MUS$)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xmlns="" id="{F91828EC-5DE0-4CD8-ABBD-8061410A2C01}"/>
              </a:ext>
            </a:extLst>
          </p:cNvPr>
          <p:cNvSpPr txBox="1"/>
          <p:nvPr/>
        </p:nvSpPr>
        <p:spPr>
          <a:xfrm>
            <a:off x="7399338" y="1768711"/>
            <a:ext cx="20178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os: MUS$ 27.770</a:t>
            </a:r>
          </a:p>
          <a:p>
            <a:r>
              <a:rPr lang="es-CL" sz="11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°</a:t>
            </a:r>
            <a:r>
              <a:rPr lang="es-CL" sz="11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dos: 418</a:t>
            </a:r>
          </a:p>
        </p:txBody>
      </p:sp>
      <p:graphicFrame>
        <p:nvGraphicFramePr>
          <p:cNvPr id="457" name="Chart 3">
            <a:extLst>
              <a:ext uri="{FF2B5EF4-FFF2-40B4-BE49-F238E27FC236}">
                <a16:creationId xmlns:a16="http://schemas.microsoft.com/office/drawing/2014/main" xmlns="" id="{1EE12C66-646D-4515-92A0-860B5B99CB7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00721275"/>
              </p:ext>
            </p:extLst>
          </p:nvPr>
        </p:nvGraphicFramePr>
        <p:xfrm>
          <a:off x="403225" y="2339975"/>
          <a:ext cx="8313738" cy="2097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64" name="Marcador de texto 2">
            <a:extLst>
              <a:ext uri="{FF2B5EF4-FFF2-40B4-BE49-F238E27FC236}">
                <a16:creationId xmlns:a16="http://schemas.microsoft.com/office/drawing/2014/main" xmlns="" id="{855EBC1D-2DD8-4541-BCC2-FEADF8B7BA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44825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95C673-28FF-48F3-BA45-E0E0747A7A14}" type="datetime'''''''''''''''''''2''''''''''''''''''''''''''''0''''''''08'''">
              <a:rPr lang="es-CL" altLang="en-US" sz="1000" smtClean="0"/>
              <a:pPr/>
              <a:t>2008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67" name="Marcador de texto 2">
            <a:extLst>
              <a:ext uri="{FF2B5EF4-FFF2-40B4-BE49-F238E27FC236}">
                <a16:creationId xmlns:a16="http://schemas.microsoft.com/office/drawing/2014/main" xmlns="" id="{8B54B9B9-C00F-4210-935F-AD07D8F1CEF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84750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408B5F-6770-44D8-9ACB-1C5F171C5C07}" type="datetime'''''''2''''''''''''''0''''''''''''''1''2'''">
              <a:rPr lang="es-CL" altLang="en-US" sz="1000" smtClean="0"/>
              <a:pPr/>
              <a:t>2012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81" name="Marcador de texto 2">
            <a:extLst>
              <a:ext uri="{FF2B5EF4-FFF2-40B4-BE49-F238E27FC236}">
                <a16:creationId xmlns:a16="http://schemas.microsoft.com/office/drawing/2014/main" xmlns="" id="{8943B292-47AD-4C55-B946-7B187BDAE22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7175" y="3211513"/>
            <a:ext cx="1365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altLang="en-US" sz="1000" dirty="0">
                <a:sym typeface="Arial" panose="020B0604020202020204" pitchFamily="34" charset="0"/>
              </a:rPr>
              <a:t>MUS$</a:t>
            </a:r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62" name="Marcador de texto 2">
            <a:extLst>
              <a:ext uri="{FF2B5EF4-FFF2-40B4-BE49-F238E27FC236}">
                <a16:creationId xmlns:a16="http://schemas.microsoft.com/office/drawing/2014/main" xmlns="" id="{51B87770-120C-46A4-A340-B8174F71845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589088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BE8884-B9CC-41EA-8929-D4BAEF85A803}" type="datetime'''''2''''''''''''''''''0''''''''''''''''''''''''''05'''''''''">
              <a:rPr lang="es-CL" altLang="en-US" sz="1000" smtClean="0"/>
              <a:pPr/>
              <a:t>2005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51" name="Marcador de texto 2">
            <a:extLst>
              <a:ext uri="{FF2B5EF4-FFF2-40B4-BE49-F238E27FC236}">
                <a16:creationId xmlns:a16="http://schemas.microsoft.com/office/drawing/2014/main" xmlns="" id="{9B146B94-31B9-4B32-9E36-756BC8EE354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03313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9E5138-7776-4115-9DA8-DCED6D6EF369}" type="datetime'''''''''''''''''''''''''''''2''''''''''''''''0''0''''''4'''">
              <a:rPr lang="es-CL" altLang="en-US" sz="1000" smtClean="0">
                <a:sym typeface="Arial" panose="020B0604020202020204" pitchFamily="34" charset="0"/>
              </a:rPr>
              <a:pPr/>
              <a:t>2004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89" name="Marcador de texto 2">
            <a:extLst>
              <a:ext uri="{FF2B5EF4-FFF2-40B4-BE49-F238E27FC236}">
                <a16:creationId xmlns:a16="http://schemas.microsoft.com/office/drawing/2014/main" xmlns="" id="{209B4278-D28E-4460-A537-3535DEEB248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726488" y="3089275"/>
            <a:ext cx="136525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altLang="en-US" sz="1000" dirty="0" err="1">
                <a:sym typeface="Arial" panose="020B0604020202020204" pitchFamily="34" charset="0"/>
              </a:rPr>
              <a:t>N°</a:t>
            </a:r>
            <a:r>
              <a:rPr lang="es-CL" altLang="en-US" sz="1000" dirty="0">
                <a:sym typeface="Arial" panose="020B0604020202020204" pitchFamily="34" charset="0"/>
              </a:rPr>
              <a:t> Fondos</a:t>
            </a:r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53" name="Marcador de texto 2">
            <a:extLst>
              <a:ext uri="{FF2B5EF4-FFF2-40B4-BE49-F238E27FC236}">
                <a16:creationId xmlns:a16="http://schemas.microsoft.com/office/drawing/2014/main" xmlns="" id="{2437DCBA-4180-42B9-86DD-32C7E1CE23A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73275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86CAAE-FE28-478E-A971-D5526C4DEDBD}" type="datetime'''''''''''2''''''''''''''''''''''''''''0''''''''''06'''''">
              <a:rPr lang="es-CL" altLang="en-US" sz="1000" smtClean="0"/>
              <a:pPr/>
              <a:t>2006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63" name="Marcador de texto 2">
            <a:extLst>
              <a:ext uri="{FF2B5EF4-FFF2-40B4-BE49-F238E27FC236}">
                <a16:creationId xmlns:a16="http://schemas.microsoft.com/office/drawing/2014/main" xmlns="" id="{31C15601-1927-40BB-B46F-434F87E3918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559050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5DB893-CA07-4069-862B-C1CE8D2F9549}" type="datetime'''''''2''''''''''''''''''''''''0''''''''''''07'''''''''''''''">
              <a:rPr lang="es-CL" altLang="en-US" sz="1000" smtClean="0"/>
              <a:pPr/>
              <a:t>2007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72" name="Marcador de texto 2">
            <a:extLst>
              <a:ext uri="{FF2B5EF4-FFF2-40B4-BE49-F238E27FC236}">
                <a16:creationId xmlns:a16="http://schemas.microsoft.com/office/drawing/2014/main" xmlns="" id="{591BEFAA-894A-4CFF-8F83-217AF5386B5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896225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449DAC-0A94-4009-8E53-B1682D520AA0}" type="datetime'2''0''''''1''8'''''''''''''''''''''''''''''''''''''''''">
              <a:rPr lang="es-CL" altLang="en-US" sz="1000" smtClean="0"/>
              <a:pPr/>
              <a:t>2018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65" name="Marcador de texto 2">
            <a:extLst>
              <a:ext uri="{FF2B5EF4-FFF2-40B4-BE49-F238E27FC236}">
                <a16:creationId xmlns:a16="http://schemas.microsoft.com/office/drawing/2014/main" xmlns="" id="{D9578BA6-ACB2-443D-958B-BA46F881DC8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529013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039AF3-0B67-4A85-AD5C-4AC58BFA7EBB}" type="datetime'2''''''''''''0''''''''''''''''''''''''0''''''''9'''''''">
              <a:rPr lang="es-CL" altLang="en-US" sz="1000" smtClean="0"/>
              <a:pPr/>
              <a:t>2009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69" name="Marcador de texto 2">
            <a:extLst>
              <a:ext uri="{FF2B5EF4-FFF2-40B4-BE49-F238E27FC236}">
                <a16:creationId xmlns:a16="http://schemas.microsoft.com/office/drawing/2014/main" xmlns="" id="{7F338C9E-A72D-4CFA-9CCF-E1961560E4F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440488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899EC3-2141-47FE-B5A0-B59526680254}" type="datetime'''''''''2''''''''''0''''''''''1''5'''''''''''''''''">
              <a:rPr lang="es-CL" altLang="en-US" sz="1000" smtClean="0"/>
              <a:pPr/>
              <a:t>2015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64" name="Marcador de texto 2">
            <a:extLst>
              <a:ext uri="{FF2B5EF4-FFF2-40B4-BE49-F238E27FC236}">
                <a16:creationId xmlns:a16="http://schemas.microsoft.com/office/drawing/2014/main" xmlns="" id="{51A0F000-B050-4AEB-B392-204CD75CA1E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14788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944C11-5201-4D46-B1A2-3182B844A4D4}" type="datetime'''''''2''''''''''''0''''''''''''''1''0'''''''''''''''''">
              <a:rPr lang="es-CL" altLang="en-US" sz="1000" smtClean="0"/>
              <a:pPr/>
              <a:t>201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66" name="Marcador de texto 2">
            <a:extLst>
              <a:ext uri="{FF2B5EF4-FFF2-40B4-BE49-F238E27FC236}">
                <a16:creationId xmlns:a16="http://schemas.microsoft.com/office/drawing/2014/main" xmlns="" id="{921A5162-7ACB-4944-90F3-73F14FABBCA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500563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1AEB9B-64FD-486D-BE82-0B23B0FF528F}" type="datetime'''''''''''''2''''''''''''0''''''''''''''1''''1'''">
              <a:rPr lang="es-CL" altLang="en-US" sz="1000" smtClean="0"/>
              <a:pPr/>
              <a:t>2011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71" name="Marcador de texto 2">
            <a:extLst>
              <a:ext uri="{FF2B5EF4-FFF2-40B4-BE49-F238E27FC236}">
                <a16:creationId xmlns:a16="http://schemas.microsoft.com/office/drawing/2014/main" xmlns="" id="{352D441D-7C42-4C5B-8C67-933FE86525F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412038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057167-871B-4E9F-8D2B-43550E83D103}" type="datetime'''2''''''''''''''''''''''0''1''''''''''''''''''''7'''''''">
              <a:rPr lang="es-CL" altLang="en-US" sz="1000" smtClean="0"/>
              <a:pPr/>
              <a:t>2017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68" name="Marcador de texto 2">
            <a:extLst>
              <a:ext uri="{FF2B5EF4-FFF2-40B4-BE49-F238E27FC236}">
                <a16:creationId xmlns:a16="http://schemas.microsoft.com/office/drawing/2014/main" xmlns="" id="{35950DA6-E2D5-4251-8E54-23B75E82B9E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470525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ECA6C6-569F-411F-B3E8-614A47B33648}" type="datetime'''''''''''''''''''2''''''''0''''''1''''3'''''''''''''''''''">
              <a:rPr lang="es-CL" altLang="en-US" sz="1000" smtClean="0"/>
              <a:pPr/>
              <a:t>2013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68" name="Marcador de texto 2">
            <a:extLst>
              <a:ext uri="{FF2B5EF4-FFF2-40B4-BE49-F238E27FC236}">
                <a16:creationId xmlns:a16="http://schemas.microsoft.com/office/drawing/2014/main" xmlns="" id="{DC54C178-0D13-4E8D-BD53-C25A9B0F850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956300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248BB4-0CDD-47B1-B298-90152584F3C6}" type="datetime'''''2''''01''''''4'''''''''''''''''''''''''">
              <a:rPr lang="es-CL" altLang="en-US" sz="1000" smtClean="0"/>
              <a:pPr/>
              <a:t>2014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370" name="Marcador de texto 2">
            <a:extLst>
              <a:ext uri="{FF2B5EF4-FFF2-40B4-BE49-F238E27FC236}">
                <a16:creationId xmlns:a16="http://schemas.microsoft.com/office/drawing/2014/main" xmlns="" id="{3BB2A258-AFEC-4849-93A0-BD44765D02C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26263" y="43815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BDB3F7-60E7-4D32-991D-E7926251FB31}" type="datetime'''''2''''''''''0''1''''''6'''''''''''''''''''">
              <a:rPr lang="es-CL" altLang="en-US" sz="1000" smtClean="0"/>
              <a:pPr/>
              <a:t>2016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71" name="Rectángulo 270">
            <a:extLst>
              <a:ext uri="{FF2B5EF4-FFF2-40B4-BE49-F238E27FC236}">
                <a16:creationId xmlns:a16="http://schemas.microsoft.com/office/drawing/2014/main" xmlns="" id="{12891980-C615-4496-80D6-2D8E45805FC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967163" y="4773613"/>
            <a:ext cx="179388" cy="133350"/>
          </a:xfrm>
          <a:prstGeom prst="rect">
            <a:avLst/>
          </a:prstGeom>
          <a:solidFill>
            <a:srgbClr val="81838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53" name="Rectángulo 452">
            <a:extLst>
              <a:ext uri="{FF2B5EF4-FFF2-40B4-BE49-F238E27FC236}">
                <a16:creationId xmlns:a16="http://schemas.microsoft.com/office/drawing/2014/main" xmlns="" id="{28864D7D-C48F-47E0-B28B-AA715F6E1905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4706937" y="4773613"/>
            <a:ext cx="179388" cy="133350"/>
          </a:xfrm>
          <a:prstGeom prst="rect">
            <a:avLst/>
          </a:prstGeom>
          <a:solidFill>
            <a:srgbClr val="CCCCC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433" name="Conector recto 432">
            <a:extLst>
              <a:ext uri="{FF2B5EF4-FFF2-40B4-BE49-F238E27FC236}">
                <a16:creationId xmlns:a16="http://schemas.microsoft.com/office/drawing/2014/main" xmlns="" id="{30DFC188-29EA-4346-AD5A-604A9CD5E295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665788" y="4840288"/>
            <a:ext cx="133350" cy="0"/>
          </a:xfrm>
          <a:prstGeom prst="line">
            <a:avLst/>
          </a:prstGeom>
          <a:ln w="19050" cap="rnd" cmpd="sng" algn="ctr">
            <a:solidFill>
              <a:srgbClr val="FAAF3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Marcador de texto 2">
            <a:extLst>
              <a:ext uri="{FF2B5EF4-FFF2-40B4-BE49-F238E27FC236}">
                <a16:creationId xmlns:a16="http://schemas.microsoft.com/office/drawing/2014/main" xmlns="" id="{4BB9C6B1-9575-4939-942D-5EAB078E43C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937125" y="4768850"/>
            <a:ext cx="6048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519CDD-EC30-497C-A951-65F050061DE3}" type="datetime'''''''P''''''a''''''''t''r''''''''imo''''n''i''''''''''''o'">
              <a:rPr lang="es-CL" altLang="en-US" sz="1000" smtClean="0"/>
              <a:pPr/>
              <a:t>Patrimonio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66" name="Marcador de texto 2">
            <a:extLst>
              <a:ext uri="{FF2B5EF4-FFF2-40B4-BE49-F238E27FC236}">
                <a16:creationId xmlns:a16="http://schemas.microsoft.com/office/drawing/2014/main" xmlns="" id="{089CC71D-C3A9-4D89-B87D-5A85ADF85C8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197349" y="4768850"/>
            <a:ext cx="4079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8E2CED-A147-4132-B4D7-EFC15D9FC043}" type="datetime'''''''''''''A''''''c''''''ti''''''''''''''''''''v''''''''o''s'">
              <a:rPr lang="es-CL" altLang="en-US" sz="1000" smtClean="0"/>
              <a:pPr/>
              <a:t>Activ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431" name="Marcador de texto 2">
            <a:extLst>
              <a:ext uri="{FF2B5EF4-FFF2-40B4-BE49-F238E27FC236}">
                <a16:creationId xmlns:a16="http://schemas.microsoft.com/office/drawing/2014/main" xmlns="" id="{DAFC3179-891D-4330-BEA2-A880A37F868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873750" y="4768850"/>
            <a:ext cx="5984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A1C000-1A6C-402E-B3B5-9AAA26FEA019}" type="datetime'N''''°'''''''''' ''''F''''o''''''''''''''''''n''''do''s'">
              <a:rPr lang="es-CL" altLang="en-US" sz="1000" smtClean="0"/>
              <a:pPr/>
              <a:t>N° Fond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80" name="CuadroTexto 279">
            <a:extLst>
              <a:ext uri="{FF2B5EF4-FFF2-40B4-BE49-F238E27FC236}">
                <a16:creationId xmlns:a16="http://schemas.microsoft.com/office/drawing/2014/main" xmlns="" id="{ABA2568D-6DF5-4E6E-9EF2-C7D387345FED}"/>
              </a:ext>
            </a:extLst>
          </p:cNvPr>
          <p:cNvSpPr txBox="1"/>
          <p:nvPr/>
        </p:nvSpPr>
        <p:spPr>
          <a:xfrm>
            <a:off x="300038" y="4570414"/>
            <a:ext cx="191080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600" dirty="0">
                <a:solidFill>
                  <a:schemeClr val="bg1">
                    <a:lumMod val="65000"/>
                  </a:schemeClr>
                </a:solidFill>
              </a:rPr>
              <a:t>Fuente: ACAFI con datos CMF</a:t>
            </a:r>
          </a:p>
        </p:txBody>
      </p:sp>
    </p:spTree>
    <p:extLst>
      <p:ext uri="{BB962C8B-B14F-4D97-AF65-F5344CB8AC3E}">
        <p14:creationId xmlns:p14="http://schemas.microsoft.com/office/powerpoint/2010/main" val="3592741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xmlns="" id="{28B2A7E2-AD6D-4E5B-BF03-7224B090BD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4383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Diapositiva de think-cell" r:id="rId61" imgW="421" imgH="423" progId="TCLayout.ActiveDocument.1">
                  <p:embed/>
                </p:oleObj>
              </mc:Choice>
              <mc:Fallback>
                <p:oleObj name="Diapositiva de think-cell" r:id="rId61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xmlns="" id="{28B2A7E2-AD6D-4E5B-BF03-7224B090B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xmlns="" id="{8DEBC2FB-DED4-4C1B-BF7F-9F13683E35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539561C7-97B3-48EE-B265-5C6F81A3F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929"/>
            <a:ext cx="7270750" cy="994479"/>
          </a:xfrm>
        </p:spPr>
        <p:txBody>
          <a:bodyPr>
            <a:normAutofit/>
          </a:bodyPr>
          <a:lstStyle/>
          <a:p>
            <a:r>
              <a:rPr lang="es-CL" sz="2000" b="1" dirty="0">
                <a:solidFill>
                  <a:srgbClr val="FFA300"/>
                </a:solidFill>
              </a:rPr>
              <a:t>RESULTADOS DICIEMBRE 2018</a:t>
            </a:r>
            <a:r>
              <a:rPr lang="es-CL" sz="2000" dirty="0"/>
              <a:t/>
            </a:r>
            <a:br>
              <a:rPr lang="es-CL" sz="2000" dirty="0"/>
            </a:br>
            <a:r>
              <a:rPr lang="es-CL" sz="1200" b="1" dirty="0"/>
              <a:t>Los fondos de Capital Privado crecieron un 39% con respecto a 2017, seguido por un 12% de los fondos Inmobiliarios. Los fondos Mobiliario crecen un 2,5% en el periodo</a:t>
            </a:r>
            <a:endParaRPr lang="es-CL" sz="2000" b="1" dirty="0"/>
          </a:p>
        </p:txBody>
      </p:sp>
      <p:cxnSp>
        <p:nvCxnSpPr>
          <p:cNvPr id="240" name="Conector recto 239">
            <a:extLst>
              <a:ext uri="{FF2B5EF4-FFF2-40B4-BE49-F238E27FC236}">
                <a16:creationId xmlns:a16="http://schemas.microsoft.com/office/drawing/2014/main" xmlns="" id="{7BDDE079-637F-4A55-ACEA-D3994A07D3C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858838" y="2695575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ector recto 235">
            <a:extLst>
              <a:ext uri="{FF2B5EF4-FFF2-40B4-BE49-F238E27FC236}">
                <a16:creationId xmlns:a16="http://schemas.microsoft.com/office/drawing/2014/main" xmlns="" id="{E2820098-011C-4746-B56F-564A09C0339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58838" y="3476625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Conector recto 232">
            <a:extLst>
              <a:ext uri="{FF2B5EF4-FFF2-40B4-BE49-F238E27FC236}">
                <a16:creationId xmlns:a16="http://schemas.microsoft.com/office/drawing/2014/main" xmlns="" id="{C3F9D532-CA71-4B57-BE15-C3686A7FA1A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58838" y="4064000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Conector recto 237">
            <a:extLst>
              <a:ext uri="{FF2B5EF4-FFF2-40B4-BE49-F238E27FC236}">
                <a16:creationId xmlns:a16="http://schemas.microsoft.com/office/drawing/2014/main" xmlns="" id="{89512827-C52E-46B7-AF12-0B278A08C16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58838" y="3086100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Conector recto 238">
            <a:extLst>
              <a:ext uri="{FF2B5EF4-FFF2-40B4-BE49-F238E27FC236}">
                <a16:creationId xmlns:a16="http://schemas.microsoft.com/office/drawing/2014/main" xmlns="" id="{4EC47715-DBA2-4248-8AB1-175863E50DE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58838" y="2890838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ector recto 236">
            <a:extLst>
              <a:ext uri="{FF2B5EF4-FFF2-40B4-BE49-F238E27FC236}">
                <a16:creationId xmlns:a16="http://schemas.microsoft.com/office/drawing/2014/main" xmlns="" id="{B48B94A1-16AF-4C36-A2DA-CCECD34A9DC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858838" y="3281363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Conector recto 231">
            <a:extLst>
              <a:ext uri="{FF2B5EF4-FFF2-40B4-BE49-F238E27FC236}">
                <a16:creationId xmlns:a16="http://schemas.microsoft.com/office/drawing/2014/main" xmlns="" id="{E341A599-7B5F-4D9B-9512-EF7E4BDE461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58838" y="4259263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Conector recto 241">
            <a:extLst>
              <a:ext uri="{FF2B5EF4-FFF2-40B4-BE49-F238E27FC236}">
                <a16:creationId xmlns:a16="http://schemas.microsoft.com/office/drawing/2014/main" xmlns="" id="{5EAEBE0A-108B-48C0-9678-A22AF5269DC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58838" y="2041525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Conector recto 240">
            <a:extLst>
              <a:ext uri="{FF2B5EF4-FFF2-40B4-BE49-F238E27FC236}">
                <a16:creationId xmlns:a16="http://schemas.microsoft.com/office/drawing/2014/main" xmlns="" id="{90C170DE-E89D-4666-8522-6AF81BF03A6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858838" y="2500313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ector recto 233">
            <a:extLst>
              <a:ext uri="{FF2B5EF4-FFF2-40B4-BE49-F238E27FC236}">
                <a16:creationId xmlns:a16="http://schemas.microsoft.com/office/drawing/2014/main" xmlns="" id="{AAC55E48-4875-47D6-B43C-B80ACDD35A8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58838" y="3868738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Conector recto 234">
            <a:extLst>
              <a:ext uri="{FF2B5EF4-FFF2-40B4-BE49-F238E27FC236}">
                <a16:creationId xmlns:a16="http://schemas.microsoft.com/office/drawing/2014/main" xmlns="" id="{A27F94E8-9B94-4164-81AD-BFAD33224A3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58838" y="3673475"/>
            <a:ext cx="42862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9" name="Chart 3">
            <a:extLst>
              <a:ext uri="{FF2B5EF4-FFF2-40B4-BE49-F238E27FC236}">
                <a16:creationId xmlns:a16="http://schemas.microsoft.com/office/drawing/2014/main" xmlns="" id="{8E7F4554-F5B0-4BEB-AB34-50C35C677DEA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52951899"/>
              </p:ext>
            </p:extLst>
          </p:nvPr>
        </p:nvGraphicFramePr>
        <p:xfrm>
          <a:off x="819150" y="1958975"/>
          <a:ext cx="7778750" cy="2382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220" name="Marcador de texto 2">
            <a:extLst>
              <a:ext uri="{FF2B5EF4-FFF2-40B4-BE49-F238E27FC236}">
                <a16:creationId xmlns:a16="http://schemas.microsoft.com/office/drawing/2014/main" xmlns="" id="{6010EE70-DB4B-4B9D-BEBF-CEE8A577A4A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58789" y="2632075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A4F646-7F72-4896-81A4-4E01D5C8BDF2}" type="datetime'''''''''''8''''''''''''''.''00''''''''''''''''''''''0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2" name="Marcador de texto 2">
            <a:extLst>
              <a:ext uri="{FF2B5EF4-FFF2-40B4-BE49-F238E27FC236}">
                <a16:creationId xmlns:a16="http://schemas.microsoft.com/office/drawing/2014/main" xmlns="" id="{7296FFDA-960A-49BB-90F4-CE489959042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03263" y="4195763"/>
            <a:ext cx="69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D66675-A1EF-4857-B689-7DA4C08DB0B4}" type="datetime'''''''''''0''''''''''''''''''''''''''''''''''''''''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22" name="Marcador de texto 2">
            <a:extLst>
              <a:ext uri="{FF2B5EF4-FFF2-40B4-BE49-F238E27FC236}">
                <a16:creationId xmlns:a16="http://schemas.microsoft.com/office/drawing/2014/main" xmlns="" id="{6A1C7DFB-DACF-4624-AA11-B36A058A16A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88939" y="1978025"/>
            <a:ext cx="384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61C514-3465-4EED-90DE-537680A782F8}" type="datetime'''''1''''''''7''''.''''''''''''''''0''''''''0''''''''''0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7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3" name="Marcador de texto 2">
            <a:extLst>
              <a:ext uri="{FF2B5EF4-FFF2-40B4-BE49-F238E27FC236}">
                <a16:creationId xmlns:a16="http://schemas.microsoft.com/office/drawing/2014/main" xmlns="" id="{0186010E-C783-4BBD-987F-AF62D8EE2F2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58789" y="4000500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3CF0DC-A6C8-4658-9722-39DBD54CC047}" type="datetime'''''''''''''''''''''''''1''''''.''000''''''''''''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4" name="Marcador de texto 2">
            <a:extLst>
              <a:ext uri="{FF2B5EF4-FFF2-40B4-BE49-F238E27FC236}">
                <a16:creationId xmlns:a16="http://schemas.microsoft.com/office/drawing/2014/main" xmlns="" id="{F0478CBC-D3BF-4E83-A4A4-8B567F5642B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58789" y="3805238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C05316-CF6E-4AE4-9D47-B02525872BF3}" type="datetime'''''''''''''''''''2.''''00''''''''''0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21" name="Marcador de texto 2">
            <a:extLst>
              <a:ext uri="{FF2B5EF4-FFF2-40B4-BE49-F238E27FC236}">
                <a16:creationId xmlns:a16="http://schemas.microsoft.com/office/drawing/2014/main" xmlns="" id="{FD8850C2-DAE9-446D-B849-BFA3DE36E72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58789" y="2436813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E841696-7268-4CC8-A097-49F5D50B1801}" type="datetime'''''''''9.''0''''''0''''''''''''''''''''''''0''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5" name="Marcador de texto 2">
            <a:extLst>
              <a:ext uri="{FF2B5EF4-FFF2-40B4-BE49-F238E27FC236}">
                <a16:creationId xmlns:a16="http://schemas.microsoft.com/office/drawing/2014/main" xmlns="" id="{91F5008A-BF87-440F-94D9-DD9B3A70211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58789" y="3609975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20128B2-77B6-4AFC-92B6-2310A1D574D1}" type="datetime'''3''''''''.''0''''''''''''''''''0''''''0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6" name="Marcador de texto 2">
            <a:extLst>
              <a:ext uri="{FF2B5EF4-FFF2-40B4-BE49-F238E27FC236}">
                <a16:creationId xmlns:a16="http://schemas.microsoft.com/office/drawing/2014/main" xmlns="" id="{980341EE-5155-4699-AB2B-DEFDA3A714A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58789" y="3413125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52AB0FF-50E3-4E76-8B9F-72E69C082A8C}" type="datetime'''''''''''4.''''''''''0''''''''''00''''''''''''''''''''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9" name="Marcador de texto 2">
            <a:extLst>
              <a:ext uri="{FF2B5EF4-FFF2-40B4-BE49-F238E27FC236}">
                <a16:creationId xmlns:a16="http://schemas.microsoft.com/office/drawing/2014/main" xmlns="" id="{78030439-9F63-4F0E-94CB-2E8ACDD3FCE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58789" y="2827338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A05DBE0-A4E4-478A-8F5B-36DE1BB0482F}" type="datetime'''''''''''''''''''''''7''.0''''''''''''''''''''0''''''''''0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7" name="Marcador de texto 2">
            <a:extLst>
              <a:ext uri="{FF2B5EF4-FFF2-40B4-BE49-F238E27FC236}">
                <a16:creationId xmlns:a16="http://schemas.microsoft.com/office/drawing/2014/main" xmlns="" id="{9E4ED7A2-7E7F-471E-AFEF-1BDBA8FEA66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58789" y="3217863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4A8A61-31BD-4FD4-BF10-3C039122B5BE}" type="datetime'''''5.''''0''''''0''''''''''''''''''''''0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8" name="Marcador de texto 2">
            <a:extLst>
              <a:ext uri="{FF2B5EF4-FFF2-40B4-BE49-F238E27FC236}">
                <a16:creationId xmlns:a16="http://schemas.microsoft.com/office/drawing/2014/main" xmlns="" id="{6BFA62E1-98FA-4C5C-8B91-485490901A7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58789" y="3022600"/>
            <a:ext cx="314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B41EA21-436C-42AA-A359-425AC39A15B8}" type="datetime'''''''''''''6''''''.''0''0''''''''''''''''0'''''''''''''''">
              <a:rPr lang="es-CL" altLang="en-US" sz="1000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.000</a:t>
            </a:fld>
            <a:endParaRPr lang="es-CL" sz="1000" dirty="0">
              <a:sym typeface="Arial" panose="020B0604020202020204" pitchFamily="34" charset="0"/>
            </a:endParaRPr>
          </a:p>
        </p:txBody>
      </p:sp>
      <p:sp useBgFill="1">
        <p:nvSpPr>
          <p:cNvPr id="249" name="Forma libre: forma 248">
            <a:extLst>
              <a:ext uri="{FF2B5EF4-FFF2-40B4-BE49-F238E27FC236}">
                <a16:creationId xmlns:a16="http://schemas.microsoft.com/office/drawing/2014/main" xmlns="" id="{F948283A-56B8-452E-A7F0-D02212AF529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504113" y="2244725"/>
            <a:ext cx="182563" cy="106364"/>
          </a:xfrm>
          <a:custGeom>
            <a:avLst/>
            <a:gdLst/>
            <a:ahLst/>
            <a:cxnLst/>
            <a:rect l="0" t="0" r="0" b="0"/>
            <a:pathLst>
              <a:path w="182563" h="106364">
                <a:moveTo>
                  <a:pt x="0" y="49213"/>
                </a:moveTo>
                <a:lnTo>
                  <a:pt x="182562" y="0"/>
                </a:lnTo>
                <a:lnTo>
                  <a:pt x="182562" y="57150"/>
                </a:lnTo>
                <a:lnTo>
                  <a:pt x="0" y="10636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252" name="Forma libre: forma 251">
            <a:extLst>
              <a:ext uri="{FF2B5EF4-FFF2-40B4-BE49-F238E27FC236}">
                <a16:creationId xmlns:a16="http://schemas.microsoft.com/office/drawing/2014/main" xmlns="" id="{8C728D9C-1F65-4037-AD3D-C76BFB52DB20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010525" y="2244725"/>
            <a:ext cx="182564" cy="106364"/>
          </a:xfrm>
          <a:custGeom>
            <a:avLst/>
            <a:gdLst/>
            <a:ahLst/>
            <a:cxnLst/>
            <a:rect l="0" t="0" r="0" b="0"/>
            <a:pathLst>
              <a:path w="182564" h="106364">
                <a:moveTo>
                  <a:pt x="0" y="49213"/>
                </a:moveTo>
                <a:lnTo>
                  <a:pt x="182563" y="0"/>
                </a:lnTo>
                <a:lnTo>
                  <a:pt x="182563" y="57150"/>
                </a:lnTo>
                <a:lnTo>
                  <a:pt x="0" y="10636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246" name="Forma libre: forma 245">
            <a:extLst>
              <a:ext uri="{FF2B5EF4-FFF2-40B4-BE49-F238E27FC236}">
                <a16:creationId xmlns:a16="http://schemas.microsoft.com/office/drawing/2014/main" xmlns="" id="{DF6A80E0-13B1-46B5-8219-EBB93B701F66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828675" y="224948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4" name="Forma libre: forma 243">
            <a:extLst>
              <a:ext uri="{FF2B5EF4-FFF2-40B4-BE49-F238E27FC236}">
                <a16:creationId xmlns:a16="http://schemas.microsoft.com/office/drawing/2014/main" xmlns="" id="{DBB22DA7-5DAB-4C1C-A33A-2164D9F13C9C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828675" y="22494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5" name="Forma libre: forma 244">
            <a:extLst>
              <a:ext uri="{FF2B5EF4-FFF2-40B4-BE49-F238E27FC236}">
                <a16:creationId xmlns:a16="http://schemas.microsoft.com/office/drawing/2014/main" xmlns="" id="{C0CF81AF-A56F-471F-A275-CEEDAD39CD5D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828675" y="23066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7" name="Forma libre: forma 246">
            <a:extLst>
              <a:ext uri="{FF2B5EF4-FFF2-40B4-BE49-F238E27FC236}">
                <a16:creationId xmlns:a16="http://schemas.microsoft.com/office/drawing/2014/main" xmlns="" id="{431871F9-763D-4391-895C-703D94CA380C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504113" y="2244725"/>
            <a:ext cx="182563" cy="49214"/>
          </a:xfrm>
          <a:custGeom>
            <a:avLst/>
            <a:gdLst/>
            <a:ahLst/>
            <a:cxnLst/>
            <a:rect l="0" t="0" r="0" b="0"/>
            <a:pathLst>
              <a:path w="182563" h="49214">
                <a:moveTo>
                  <a:pt x="0" y="49213"/>
                </a:moveTo>
                <a:lnTo>
                  <a:pt x="1825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8" name="Forma libre: forma 247">
            <a:extLst>
              <a:ext uri="{FF2B5EF4-FFF2-40B4-BE49-F238E27FC236}">
                <a16:creationId xmlns:a16="http://schemas.microsoft.com/office/drawing/2014/main" xmlns="" id="{CBA9AB9F-D452-4EA5-9F04-172AC45DE588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504113" y="2301875"/>
            <a:ext cx="182563" cy="49214"/>
          </a:xfrm>
          <a:custGeom>
            <a:avLst/>
            <a:gdLst/>
            <a:ahLst/>
            <a:cxnLst/>
            <a:rect l="0" t="0" r="0" b="0"/>
            <a:pathLst>
              <a:path w="182563" h="49214">
                <a:moveTo>
                  <a:pt x="0" y="49213"/>
                </a:moveTo>
                <a:lnTo>
                  <a:pt x="18256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50" name="Forma libre: forma 249">
            <a:extLst>
              <a:ext uri="{FF2B5EF4-FFF2-40B4-BE49-F238E27FC236}">
                <a16:creationId xmlns:a16="http://schemas.microsoft.com/office/drawing/2014/main" xmlns="" id="{FF519BA0-9126-4430-A02E-93C67F432E1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8010525" y="2244725"/>
            <a:ext cx="182564" cy="49214"/>
          </a:xfrm>
          <a:custGeom>
            <a:avLst/>
            <a:gdLst/>
            <a:ahLst/>
            <a:cxnLst/>
            <a:rect l="0" t="0" r="0" b="0"/>
            <a:pathLst>
              <a:path w="182564" h="49214">
                <a:moveTo>
                  <a:pt x="0" y="49213"/>
                </a:moveTo>
                <a:lnTo>
                  <a:pt x="1825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51" name="Forma libre: forma 250">
            <a:extLst>
              <a:ext uri="{FF2B5EF4-FFF2-40B4-BE49-F238E27FC236}">
                <a16:creationId xmlns:a16="http://schemas.microsoft.com/office/drawing/2014/main" xmlns="" id="{DAE3181E-5B67-47C4-A71D-FDCE1D2A6747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010525" y="2301875"/>
            <a:ext cx="182564" cy="49214"/>
          </a:xfrm>
          <a:custGeom>
            <a:avLst/>
            <a:gdLst/>
            <a:ahLst/>
            <a:cxnLst/>
            <a:rect l="0" t="0" r="0" b="0"/>
            <a:pathLst>
              <a:path w="182564" h="49214">
                <a:moveTo>
                  <a:pt x="0" y="49213"/>
                </a:moveTo>
                <a:lnTo>
                  <a:pt x="182563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xmlns="" id="{07230B15-5F12-4A6D-9CBA-806025E302C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113713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EA5305-1C15-4EF4-A0C0-1BA4B7767631}" type="datetime'''2''''''''''''''''''''''''''0''''''1''''''8'''''''''">
              <a:rPr lang="es-CL" altLang="en-US" sz="1000" smtClean="0"/>
              <a:pPr/>
              <a:t>2018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xmlns="" id="{476B8244-90CC-4E79-AF11-12D2FF90A0C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052888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3E9892-5DF9-4DE5-9E3F-D4E647A5A3E1}" type="datetime'''''''2''''''''''''0''''''''1''''''''''''0'''''''">
              <a:rPr lang="es-CL" altLang="en-US" sz="1000" smtClean="0"/>
              <a:pPr/>
              <a:t>2010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xmlns="" id="{29221916-CC08-4825-8C2C-B629456BB30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008063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F6E621-551C-4234-B4BA-7A3CE5A61B01}" type="datetime'''''''''''''''2''''''''''''''''0''''0''''''''''''''''''4'''">
              <a:rPr lang="es-CL" altLang="en-US" sz="1000" smtClean="0"/>
              <a:pPr/>
              <a:t>2004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xmlns="" id="{71926EFF-CC3C-443A-A3C6-47E5C37C0FA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516063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0CC859-04B3-46CC-8D59-24864E99F136}" type="datetime'''''2''''''''''0''''''0''''''''''''''''''5'''''''''''''''''''">
              <a:rPr lang="es-CL" altLang="en-US" sz="1000" smtClean="0"/>
              <a:pPr/>
              <a:t>2005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4" name="Marcador de texto 2">
            <a:extLst>
              <a:ext uri="{FF2B5EF4-FFF2-40B4-BE49-F238E27FC236}">
                <a16:creationId xmlns:a16="http://schemas.microsoft.com/office/drawing/2014/main" xmlns="" id="{105AD403-12C1-421D-822F-B38FD4B3E5A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083300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00887C-EC66-4679-991B-28A148EF7225}" type="datetime'''''''''''''''''''''''''''''2''''''''''''01''4'''''''''''''">
              <a:rPr lang="es-CL" altLang="en-US" sz="1000" smtClean="0"/>
              <a:pPr/>
              <a:t>2014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7" name="Marcador de texto 2">
            <a:extLst>
              <a:ext uri="{FF2B5EF4-FFF2-40B4-BE49-F238E27FC236}">
                <a16:creationId xmlns:a16="http://schemas.microsoft.com/office/drawing/2014/main" xmlns="" id="{F8499193-0D35-4AA1-AD2E-F74C8C2C453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530475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5E1289-34B6-41BE-A8A5-106EFFC61E15}" type="datetime'''''''''2''0''''''''0''''''''''''''''''''''''''''''''''''7'">
              <a:rPr lang="es-CL" altLang="en-US" sz="1000" smtClean="0"/>
              <a:pPr/>
              <a:t>2007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xmlns="" id="{70810EEC-B104-42E8-B114-22C9A6235A2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546475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7437A5-C010-484C-B7E2-B352FC88F98D}" type="datetime'''''''''''''''''''''''''200''''''''''''''9'''''''''''''''''''">
              <a:rPr lang="es-CL" altLang="en-US" sz="1000" smtClean="0"/>
              <a:pPr/>
              <a:t>2009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8" name="Marcador de texto 2">
            <a:extLst>
              <a:ext uri="{FF2B5EF4-FFF2-40B4-BE49-F238E27FC236}">
                <a16:creationId xmlns:a16="http://schemas.microsoft.com/office/drawing/2014/main" xmlns="" id="{86B3FAC9-406F-44EA-A476-6C616F126E8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038475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53C9B7-9F72-4472-A349-4A649466A23C}" type="datetime'''''''''''20''0''''''''''''''''''''8'''''''">
              <a:rPr lang="es-CL" altLang="en-US" sz="1000" smtClean="0"/>
              <a:pPr/>
              <a:t>2008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75" name="Marcador de texto 2">
            <a:extLst>
              <a:ext uri="{FF2B5EF4-FFF2-40B4-BE49-F238E27FC236}">
                <a16:creationId xmlns:a16="http://schemas.microsoft.com/office/drawing/2014/main" xmlns="" id="{4CACDB29-C5D6-4BB6-89EA-0C2D342CCF3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50813" y="2973388"/>
            <a:ext cx="1365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CL" altLang="en-US" sz="1000" dirty="0">
                <a:sym typeface="Arial" panose="020B0604020202020204" pitchFamily="34" charset="0"/>
              </a:rPr>
              <a:t>MUS$</a:t>
            </a:r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1" name="Marcador de texto 2">
            <a:extLst>
              <a:ext uri="{FF2B5EF4-FFF2-40B4-BE49-F238E27FC236}">
                <a16:creationId xmlns:a16="http://schemas.microsoft.com/office/drawing/2014/main" xmlns="" id="{0E7E0365-08E6-429E-B263-90C530EFADE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560888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6CDEE-6AD7-484E-AEC1-16C05DC217A0}" type="datetime'''''''''''''''20''''''''11'''''''''''''''''''''''''''">
              <a:rPr lang="es-CL" altLang="en-US" sz="1000" smtClean="0"/>
              <a:pPr/>
              <a:t>2011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xmlns="" id="{2DE7C5E2-2B84-4C18-AE64-4BF1225CC7E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576888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ACF4A4-86FB-439A-B112-4817C9232D55}" type="datetime'''''''''''''''20''''''''''''''''1''3'''''''''''''''''''">
              <a:rPr lang="es-CL" altLang="en-US" sz="1000" smtClean="0"/>
              <a:pPr/>
              <a:t>2013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5" name="Marcador de texto 2">
            <a:extLst>
              <a:ext uri="{FF2B5EF4-FFF2-40B4-BE49-F238E27FC236}">
                <a16:creationId xmlns:a16="http://schemas.microsoft.com/office/drawing/2014/main" xmlns="" id="{8CE1D21E-2DF7-4D59-9F84-6D8D61C86EB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591300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13FAA4-D0BD-4103-8AFA-998C165E0EAC}" type="datetime'''''''''''2''''''''0''''''''''''1''''5'''''''''''''">
              <a:rPr lang="es-CL" altLang="en-US" sz="1000" smtClean="0"/>
              <a:pPr/>
              <a:t>2015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xmlns="" id="{8C7F47E2-CD62-41DA-AB9A-445AAE28B83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099300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84C529-3940-4BC3-B156-B393ECE48A73}" type="datetime'''''''2''''0''''''''''''''''''''1''''6'''''''''''">
              <a:rPr lang="es-CL" altLang="en-US" sz="1000" smtClean="0"/>
              <a:pPr/>
              <a:t>2016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7" name="Marcador de texto 2">
            <a:extLst>
              <a:ext uri="{FF2B5EF4-FFF2-40B4-BE49-F238E27FC236}">
                <a16:creationId xmlns:a16="http://schemas.microsoft.com/office/drawing/2014/main" xmlns="" id="{5CF1BAFD-4696-43A9-9F17-41B5E0935A0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607300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FBB32F-1C9B-4B75-B057-E6ECEE5C442A}" type="datetime'2''''''''''''''''''''0''1''''''''''7'''''''''''''''">
              <a:rPr lang="es-CL" altLang="en-US" sz="1000" smtClean="0"/>
              <a:pPr/>
              <a:t>2017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xmlns="" id="{BB505E91-3FE8-4710-A472-91D76B29DA3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022475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2547A6-55E6-4ED2-B5BF-71D7BE1919B5}" type="datetime'''''''''''''2''''0''''''''0''''''''''''6'''''''''''">
              <a:rPr lang="es-CL" altLang="en-US" sz="1000" smtClean="0"/>
              <a:pPr/>
              <a:t>2006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xmlns="" id="{14C73F7D-C9B8-446D-BCFB-3CA4E3D98DD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068888" y="4302125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54B0A2-00CE-4A57-A7A5-6A4DF0AEB757}" type="datetime'2''0''''1''''''''''''''''''''''2'''''''''''''''''''">
              <a:rPr lang="es-CL" altLang="en-US" sz="1000" smtClean="0"/>
              <a:pPr/>
              <a:t>2012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53" name="Rectángulo 152">
            <a:extLst>
              <a:ext uri="{FF2B5EF4-FFF2-40B4-BE49-F238E27FC236}">
                <a16:creationId xmlns:a16="http://schemas.microsoft.com/office/drawing/2014/main" xmlns="" id="{8E824AA6-8883-4277-909F-F998FAAF55B5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2598738" y="4665663"/>
            <a:ext cx="179388" cy="133350"/>
          </a:xfrm>
          <a:prstGeom prst="rect">
            <a:avLst/>
          </a:prstGeom>
          <a:solidFill>
            <a:srgbClr val="CCCCC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6" name="Rectángulo 155">
            <a:extLst>
              <a:ext uri="{FF2B5EF4-FFF2-40B4-BE49-F238E27FC236}">
                <a16:creationId xmlns:a16="http://schemas.microsoft.com/office/drawing/2014/main" xmlns="" id="{EB0CA819-E822-4380-AB28-1E938E115560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5768975" y="4665663"/>
            <a:ext cx="179388" cy="133350"/>
          </a:xfrm>
          <a:prstGeom prst="rect">
            <a:avLst/>
          </a:prstGeom>
          <a:solidFill>
            <a:srgbClr val="E27F2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5" name="Rectángulo 154">
            <a:extLst>
              <a:ext uri="{FF2B5EF4-FFF2-40B4-BE49-F238E27FC236}">
                <a16:creationId xmlns:a16="http://schemas.microsoft.com/office/drawing/2014/main" xmlns="" id="{CDDF2C81-F4B4-4DA4-B0E0-CD12755DBD4C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4579938" y="4665663"/>
            <a:ext cx="179388" cy="133350"/>
          </a:xfrm>
          <a:prstGeom prst="rect">
            <a:avLst/>
          </a:prstGeom>
          <a:solidFill>
            <a:srgbClr val="FAAF3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4" name="Rectángulo 153">
            <a:extLst>
              <a:ext uri="{FF2B5EF4-FFF2-40B4-BE49-F238E27FC236}">
                <a16:creationId xmlns:a16="http://schemas.microsoft.com/office/drawing/2014/main" xmlns="" id="{0E31E6EE-4602-4D70-AA1B-651840791A52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3536950" y="4665663"/>
            <a:ext cx="179388" cy="133350"/>
          </a:xfrm>
          <a:prstGeom prst="rect">
            <a:avLst/>
          </a:prstGeom>
          <a:solidFill>
            <a:srgbClr val="81838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xmlns="" id="{C87F0AEB-B42C-4545-B668-765CDBEFB1E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810125" y="4660900"/>
            <a:ext cx="857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9DE2D1-55E0-4D5B-88E6-59643EA5114A}" type="datetime'C''''''a''''p''''''''ita''''''''''l ''P''''ri''v''''a''do'''">
              <a:rPr lang="es-CL" altLang="en-US" sz="1000" smtClean="0"/>
              <a:pPr/>
              <a:t>Capital Privado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xmlns="" id="{1D52564D-4E2D-442F-B33E-A6EF6B1FC7D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2828925" y="4660900"/>
            <a:ext cx="6064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26CD85-84A5-4E54-97F4-6AA36A9E6AFA}" type="datetime'M''obi''''l''''''''''''i''a''''ri''o''''''''''''''''''s'''">
              <a:rPr lang="es-CL" altLang="en-US" sz="1000" smtClean="0"/>
              <a:pPr/>
              <a:t>Mobiliari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xmlns="" id="{13AE1D85-C795-4D5D-A6FF-BD7F0F7C254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999163" y="4660900"/>
            <a:ext cx="7651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8BB4EB-C744-4623-85FB-3760C7361481}" type="datetime'O''tr''''o''''''''s'''''''''' F''''o''''''nd''''''''''''os'''">
              <a:rPr lang="es-CL" altLang="en-US" sz="1000" smtClean="0"/>
              <a:pPr/>
              <a:t>Otros Fond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xmlns="" id="{DD187795-AE35-4FC1-A617-ABBE4906ADF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767138" y="4660900"/>
            <a:ext cx="711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3F2C9E-6818-4E04-AFE6-AD3EC268B9AF}" type="datetime'In''''''m''''o''b''''''i''''''li''''a''r''i''''''o''''s'''">
              <a:rPr lang="es-CL" altLang="en-US" sz="1000" smtClean="0"/>
              <a:pPr/>
              <a:t>Inmobiliari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70" name="CuadroTexto 169">
            <a:extLst>
              <a:ext uri="{FF2B5EF4-FFF2-40B4-BE49-F238E27FC236}">
                <a16:creationId xmlns:a16="http://schemas.microsoft.com/office/drawing/2014/main" xmlns="" id="{9CFF5459-FF9C-4A37-BBD9-BA6897EE4B7C}"/>
              </a:ext>
            </a:extLst>
          </p:cNvPr>
          <p:cNvSpPr txBox="1"/>
          <p:nvPr/>
        </p:nvSpPr>
        <p:spPr>
          <a:xfrm>
            <a:off x="628650" y="1373188"/>
            <a:ext cx="78866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Total Activos Administrados por Tipo de Activo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millones de dólares, MUS$)</a:t>
            </a:r>
          </a:p>
        </p:txBody>
      </p:sp>
    </p:spTree>
    <p:extLst>
      <p:ext uri="{BB962C8B-B14F-4D97-AF65-F5344CB8AC3E}">
        <p14:creationId xmlns:p14="http://schemas.microsoft.com/office/powerpoint/2010/main" val="24459374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xmlns="" id="{28B2A7E2-AD6D-4E5B-BF03-7224B090BD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07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Diapositiva de think-cell" r:id="rId68" imgW="421" imgH="423" progId="TCLayout.ActiveDocument.1">
                  <p:embed/>
                </p:oleObj>
              </mc:Choice>
              <mc:Fallback>
                <p:oleObj name="Diapositiva de think-cell" r:id="rId68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xmlns="" id="{28B2A7E2-AD6D-4E5B-BF03-7224B090B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xmlns="" id="{8DEBC2FB-DED4-4C1B-BF7F-9F13683E35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539561C7-97B3-48EE-B265-5C6F81A3F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929"/>
            <a:ext cx="7270750" cy="994479"/>
          </a:xfrm>
        </p:spPr>
        <p:txBody>
          <a:bodyPr>
            <a:normAutofit fontScale="90000"/>
          </a:bodyPr>
          <a:lstStyle/>
          <a:p>
            <a:r>
              <a:rPr lang="es-CL" sz="2000" b="1" dirty="0">
                <a:solidFill>
                  <a:srgbClr val="FFA300"/>
                </a:solidFill>
              </a:rPr>
              <a:t>RESULTADOS DICIEMBRE 2018</a:t>
            </a:r>
            <a:r>
              <a:rPr lang="es-CL" sz="2000" dirty="0"/>
              <a:t/>
            </a:r>
            <a:br>
              <a:rPr lang="es-CL" sz="2000" dirty="0"/>
            </a:br>
            <a:r>
              <a:rPr lang="es-CL" sz="1200" b="1" dirty="0"/>
              <a:t>Los fondos con inversión directa crecen un 41% mientras que los de inversión indirecta crecieron en 38%, revirtiendo la pérdida de 2017.</a:t>
            </a:r>
            <a:br>
              <a:rPr lang="es-CL" sz="1200" b="1" dirty="0"/>
            </a:br>
            <a:r>
              <a:rPr lang="es-CL" sz="1200" b="1" dirty="0"/>
              <a:t/>
            </a:r>
            <a:br>
              <a:rPr lang="es-CL" sz="1200" b="1" dirty="0"/>
            </a:br>
            <a:r>
              <a:rPr lang="es-CL" sz="1200" b="1" dirty="0"/>
              <a:t/>
            </a:r>
            <a:br>
              <a:rPr lang="es-CL" sz="1200" b="1" dirty="0"/>
            </a:br>
            <a:r>
              <a:rPr lang="es-CL" sz="1200" b="1" dirty="0"/>
              <a:t/>
            </a:r>
            <a:br>
              <a:rPr lang="es-CL" sz="1200" b="1" dirty="0"/>
            </a:br>
            <a:endParaRPr lang="es-CL" sz="2000" b="1" dirty="0"/>
          </a:p>
        </p:txBody>
      </p:sp>
      <p:sp>
        <p:nvSpPr>
          <p:cNvPr id="170" name="CuadroTexto 169">
            <a:extLst>
              <a:ext uri="{FF2B5EF4-FFF2-40B4-BE49-F238E27FC236}">
                <a16:creationId xmlns:a16="http://schemas.microsoft.com/office/drawing/2014/main" xmlns="" id="{9CFF5459-FF9C-4A37-BBD9-BA6897EE4B7C}"/>
              </a:ext>
            </a:extLst>
          </p:cNvPr>
          <p:cNvSpPr txBox="1"/>
          <p:nvPr/>
        </p:nvSpPr>
        <p:spPr>
          <a:xfrm>
            <a:off x="4410075" y="1373188"/>
            <a:ext cx="46337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Zoom Activos Administrados Fondos de Capital Privado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millones de dólares, MUS$)</a:t>
            </a:r>
          </a:p>
        </p:txBody>
      </p:sp>
      <p:graphicFrame>
        <p:nvGraphicFramePr>
          <p:cNvPr id="177" name="Chart 3">
            <a:extLst>
              <a:ext uri="{FF2B5EF4-FFF2-40B4-BE49-F238E27FC236}">
                <a16:creationId xmlns:a16="http://schemas.microsoft.com/office/drawing/2014/main" xmlns="" id="{F87513BF-FF2A-4414-8661-9C280B58627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01407209"/>
              </p:ext>
            </p:extLst>
          </p:nvPr>
        </p:nvGraphicFramePr>
        <p:xfrm>
          <a:off x="4287838" y="2079625"/>
          <a:ext cx="4525962" cy="2112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79" name="Marcador de texto 2">
            <a:extLst>
              <a:ext uri="{FF2B5EF4-FFF2-40B4-BE49-F238E27FC236}">
                <a16:creationId xmlns:a16="http://schemas.microsoft.com/office/drawing/2014/main" xmlns="" id="{130A45D2-9561-4552-80B1-8531C8FFF5C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1342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52C50F-D563-41B8-A2DF-6FF1CAFEE09F}" type="datetime'''''''2''''''''0''''''''''''''''''''''''1''5'">
              <a:rPr lang="es-CL" altLang="en-US" sz="800" b="1" smtClean="0"/>
              <a:pPr/>
              <a:t>2015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8" name="Marcador de texto 2">
            <a:extLst>
              <a:ext uri="{FF2B5EF4-FFF2-40B4-BE49-F238E27FC236}">
                <a16:creationId xmlns:a16="http://schemas.microsoft.com/office/drawing/2014/main" xmlns="" id="{95F625F6-A965-439D-B3AD-80A0692B807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149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0247A2-94BF-4045-AE13-A0035B1E7B01}" type="datetime'''''''''''''''''2''''''''''''''''''0''''''1''''4'''''">
              <a:rPr lang="es-CL" altLang="en-US" sz="800" b="1" smtClean="0"/>
              <a:pPr/>
              <a:t>2014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80" name="Marcador de texto 2">
            <a:extLst>
              <a:ext uri="{FF2B5EF4-FFF2-40B4-BE49-F238E27FC236}">
                <a16:creationId xmlns:a16="http://schemas.microsoft.com/office/drawing/2014/main" xmlns="" id="{BF8EA7B0-DE6D-41FA-A2C5-660DBDCD5C1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119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E72805-878F-4925-99F2-D4D14AE6FB22}" type="datetime'2''01''6'''''''''''''''''''''''''''''''''''''''">
              <a:rPr lang="es-CL" altLang="en-US" sz="800" b="1" smtClean="0"/>
              <a:pPr/>
              <a:t>2016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81" name="Marcador de texto 2">
            <a:extLst>
              <a:ext uri="{FF2B5EF4-FFF2-40B4-BE49-F238E27FC236}">
                <a16:creationId xmlns:a16="http://schemas.microsoft.com/office/drawing/2014/main" xmlns="" id="{4F0475EC-F2CE-4BD1-8896-56C6E579643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4120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5804E4-CC2D-4CCA-A228-C9C40BC9C904}" type="datetime'''''''''''''''''''''''''2''01''''''7'''''">
              <a:rPr lang="es-CL" altLang="en-US" sz="800" b="1" smtClean="0"/>
              <a:pPr/>
              <a:t>2017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82" name="Marcador de texto 2">
            <a:extLst>
              <a:ext uri="{FF2B5EF4-FFF2-40B4-BE49-F238E27FC236}">
                <a16:creationId xmlns:a16="http://schemas.microsoft.com/office/drawing/2014/main" xmlns="" id="{2DCB62E9-785D-427A-920B-C450785D8C5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1055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81B1B6-6B8D-4FE1-A600-C66888A5C20E}" type="datetime'2''0''''1''8'''''">
              <a:rPr lang="es-CL" altLang="en-US" sz="800" b="1" smtClean="0"/>
              <a:pPr/>
              <a:t>2018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41559272-910C-46AD-A394-5CF63CB5200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573838" y="4408488"/>
            <a:ext cx="179388" cy="133350"/>
          </a:xfrm>
          <a:prstGeom prst="rect">
            <a:avLst/>
          </a:prstGeom>
          <a:solidFill>
            <a:srgbClr val="CCCCC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xmlns="" id="{75F6220A-2AB6-40B0-9E3C-91128F58D381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372100" y="4408488"/>
            <a:ext cx="179388" cy="133350"/>
          </a:xfrm>
          <a:prstGeom prst="rect">
            <a:avLst/>
          </a:prstGeom>
          <a:solidFill>
            <a:srgbClr val="FBD18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780DC149-6FE0-43BA-A3F8-C230820225F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372100" y="4595813"/>
            <a:ext cx="179388" cy="133350"/>
          </a:xfrm>
          <a:prstGeom prst="rect">
            <a:avLst/>
          </a:prstGeom>
          <a:solidFill>
            <a:srgbClr val="81838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BDB9B2CF-B789-47B1-93C8-C9C2DEA582C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573838" y="4595813"/>
            <a:ext cx="179388" cy="133350"/>
          </a:xfrm>
          <a:prstGeom prst="rect">
            <a:avLst/>
          </a:prstGeom>
          <a:solidFill>
            <a:srgbClr val="E27F2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6477183A-EB8C-4532-BC90-30F7FEE3776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893050" y="4408488"/>
            <a:ext cx="179388" cy="133350"/>
          </a:xfrm>
          <a:prstGeom prst="rect">
            <a:avLst/>
          </a:prstGeom>
          <a:solidFill>
            <a:srgbClr val="FAAF3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5" name="Marcador de texto 2">
            <a:extLst>
              <a:ext uri="{FF2B5EF4-FFF2-40B4-BE49-F238E27FC236}">
                <a16:creationId xmlns:a16="http://schemas.microsoft.com/office/drawing/2014/main" xmlns="" id="{20EB14E5-0B8A-4D5D-8DCF-1F3BBBD3FF4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602288" y="4403725"/>
            <a:ext cx="8699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070C40-4703-48F5-936D-54F4A3112172}" type="datetime'V''''e''n''''t''''''u''r''''e'' Ca''''''pit''''''al'''''''''">
              <a:rPr lang="es-CL" altLang="en-US" sz="1000" smtClean="0"/>
              <a:pPr/>
              <a:t>Venture Capital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62" name="Marcador de texto 2">
            <a:extLst>
              <a:ext uri="{FF2B5EF4-FFF2-40B4-BE49-F238E27FC236}">
                <a16:creationId xmlns:a16="http://schemas.microsoft.com/office/drawing/2014/main" xmlns="" id="{DA12A179-D389-4024-B779-B5D380C8A75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02288" y="4591050"/>
            <a:ext cx="7794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E059E6-4502-4D71-BFF6-A2A71C76E2BA}" type="datetime'''''''P''''''''r''i''va''''''''''''te E''''''q''''''''uit''y'">
              <a:rPr lang="es-CL" altLang="en-US" sz="1000" smtClean="0"/>
              <a:pPr/>
              <a:t>Private Equity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83" name="Marcador de texto 2">
            <a:extLst>
              <a:ext uri="{FF2B5EF4-FFF2-40B4-BE49-F238E27FC236}">
                <a16:creationId xmlns:a16="http://schemas.microsoft.com/office/drawing/2014/main" xmlns="" id="{4C3E8D1E-44D7-4C2B-B821-68AA4454932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804025" y="4591050"/>
            <a:ext cx="9874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82CF87-490C-4FCE-AF38-AAA0A5687DBE}" type="datetime'''''F''''o''n''''d''''''o'''' ''''d''''e'' F''''''ond''''os'">
              <a:rPr lang="es-CL" altLang="en-US" sz="1000" smtClean="0"/>
              <a:pPr/>
              <a:t>Fondo de Fond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63" name="Marcador de texto 2">
            <a:extLst>
              <a:ext uri="{FF2B5EF4-FFF2-40B4-BE49-F238E27FC236}">
                <a16:creationId xmlns:a16="http://schemas.microsoft.com/office/drawing/2014/main" xmlns="" id="{E2DAA445-0F79-43FE-8BB0-D5C4816CC33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04025" y="4403725"/>
            <a:ext cx="835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98F0E8-1E7F-47EF-867B-8C7AA00649C9}" type="datetime'''D''e''''u''''d''''''a'' P''''''''riva''d''''''''''a'''">
              <a:rPr lang="es-CL" altLang="en-US" sz="1000" smtClean="0"/>
              <a:pPr/>
              <a:t>Deuda Privada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01" name="Marcador de texto 2">
            <a:extLst>
              <a:ext uri="{FF2B5EF4-FFF2-40B4-BE49-F238E27FC236}">
                <a16:creationId xmlns:a16="http://schemas.microsoft.com/office/drawing/2014/main" xmlns="" id="{06DB0A2B-7FC8-49EF-87D4-1D0379F222C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123238" y="4403725"/>
            <a:ext cx="3095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9D539E-5B80-4B66-A953-AEA9D314B575}" type="datetime'''''O''t''''''''r''''''''''''''o''''''''''''''''''s'''''''">
              <a:rPr lang="es-CL" altLang="en-US" sz="1000" smtClean="0"/>
              <a:pPr/>
              <a:t>Otr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81" name="CuadroTexto 180">
            <a:extLst>
              <a:ext uri="{FF2B5EF4-FFF2-40B4-BE49-F238E27FC236}">
                <a16:creationId xmlns:a16="http://schemas.microsoft.com/office/drawing/2014/main" xmlns="" id="{1BF1F799-4A95-4B98-9338-A328E59BD6CB}"/>
              </a:ext>
            </a:extLst>
          </p:cNvPr>
          <p:cNvSpPr txBox="1"/>
          <p:nvPr/>
        </p:nvSpPr>
        <p:spPr>
          <a:xfrm>
            <a:off x="-98424" y="1373188"/>
            <a:ext cx="4508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Activos Administrados Fondos de Capital Privado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millones de dólares, MUS$)</a:t>
            </a:r>
          </a:p>
        </p:txBody>
      </p:sp>
      <p:cxnSp>
        <p:nvCxnSpPr>
          <p:cNvPr id="348" name="Conector recto 347">
            <a:extLst>
              <a:ext uri="{FF2B5EF4-FFF2-40B4-BE49-F238E27FC236}">
                <a16:creationId xmlns:a16="http://schemas.microsoft.com/office/drawing/2014/main" xmlns="" id="{6BD3BF8E-FE4F-41D8-A586-A738B19D8912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506413" y="2162175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Conector recto 346">
            <a:extLst>
              <a:ext uri="{FF2B5EF4-FFF2-40B4-BE49-F238E27FC236}">
                <a16:creationId xmlns:a16="http://schemas.microsoft.com/office/drawing/2014/main" xmlns="" id="{25A8CFD2-9B50-4087-A2B1-49E813D93B86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06413" y="2373313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Conector recto 344">
            <a:extLst>
              <a:ext uri="{FF2B5EF4-FFF2-40B4-BE49-F238E27FC236}">
                <a16:creationId xmlns:a16="http://schemas.microsoft.com/office/drawing/2014/main" xmlns="" id="{026E72B8-0A58-4DE8-85D0-7EA4225855AE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506413" y="3052763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Conector recto 342">
            <a:extLst>
              <a:ext uri="{FF2B5EF4-FFF2-40B4-BE49-F238E27FC236}">
                <a16:creationId xmlns:a16="http://schemas.microsoft.com/office/drawing/2014/main" xmlns="" id="{2C060120-BC6D-4A9A-AF58-EAAA169A457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506413" y="3475038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Conector recto 343">
            <a:extLst>
              <a:ext uri="{FF2B5EF4-FFF2-40B4-BE49-F238E27FC236}">
                <a16:creationId xmlns:a16="http://schemas.microsoft.com/office/drawing/2014/main" xmlns="" id="{637E69E4-9E11-4194-ABCB-C77AC027CFC9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06413" y="3263900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Conector recto 340">
            <a:extLst>
              <a:ext uri="{FF2B5EF4-FFF2-40B4-BE49-F238E27FC236}">
                <a16:creationId xmlns:a16="http://schemas.microsoft.com/office/drawing/2014/main" xmlns="" id="{39B7BAB3-06AC-4B93-9B42-32ACF0EF69BE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06413" y="3897313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Conector recto 339">
            <a:extLst>
              <a:ext uri="{FF2B5EF4-FFF2-40B4-BE49-F238E27FC236}">
                <a16:creationId xmlns:a16="http://schemas.microsoft.com/office/drawing/2014/main" xmlns="" id="{A755AD98-4D8B-4AAF-9C91-82D0B2FDFF5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06413" y="4108450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Conector recto 341">
            <a:extLst>
              <a:ext uri="{FF2B5EF4-FFF2-40B4-BE49-F238E27FC236}">
                <a16:creationId xmlns:a16="http://schemas.microsoft.com/office/drawing/2014/main" xmlns="" id="{AEAEE2BD-02AD-4CD1-B62B-4FAE29C8BDA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506413" y="3686175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Conector recto 345">
            <a:extLst>
              <a:ext uri="{FF2B5EF4-FFF2-40B4-BE49-F238E27FC236}">
                <a16:creationId xmlns:a16="http://schemas.microsoft.com/office/drawing/2014/main" xmlns="" id="{3B5077D3-31D1-4A6B-87EB-27056C65D94F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506413" y="2841625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0" name="Chart 3">
            <a:extLst>
              <a:ext uri="{FF2B5EF4-FFF2-40B4-BE49-F238E27FC236}">
                <a16:creationId xmlns:a16="http://schemas.microsoft.com/office/drawing/2014/main" xmlns="" id="{990923A9-134E-4B43-AB7D-7902A22BFEEA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2028683"/>
              </p:ext>
            </p:extLst>
          </p:nvPr>
        </p:nvGraphicFramePr>
        <p:xfrm>
          <a:off x="457200" y="2079625"/>
          <a:ext cx="3721100" cy="211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sp>
        <p:nvSpPr>
          <p:cNvPr id="327" name="Marcador de texto 2">
            <a:extLst>
              <a:ext uri="{FF2B5EF4-FFF2-40B4-BE49-F238E27FC236}">
                <a16:creationId xmlns:a16="http://schemas.microsoft.com/office/drawing/2014/main" xmlns="" id="{FEBF269B-C1AE-4DAB-B727-F20576D4C31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82588" y="4057650"/>
            <a:ext cx="571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7ED266A-77DC-4B5E-B37C-79CA9924240B}" type="datetime'''''''''''''''''''''0''''''''''''''''''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28" name="Marcador de texto 2">
            <a:extLst>
              <a:ext uri="{FF2B5EF4-FFF2-40B4-BE49-F238E27FC236}">
                <a16:creationId xmlns:a16="http://schemas.microsoft.com/office/drawing/2014/main" xmlns="" id="{3173DA9B-7828-458B-875C-DF66505132B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68288" y="3846513"/>
            <a:ext cx="1714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7D464D-4084-4EF6-B7B5-A5B7781AD405}" type="datetime'''''''50''''''''0''''''''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32" name="Marcador de texto 2">
            <a:extLst>
              <a:ext uri="{FF2B5EF4-FFF2-40B4-BE49-F238E27FC236}">
                <a16:creationId xmlns:a16="http://schemas.microsoft.com/office/drawing/2014/main" xmlns="" id="{57913DB8-5D49-4D5B-A6FC-CDEC0B9614A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82564" y="3001963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E7AE12-2F95-484B-BE55-34BE4136A094}" type="datetime'''''''''''''2''''''.''''''5''''0''''0''''''''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30" name="Marcador de texto 2">
            <a:extLst>
              <a:ext uri="{FF2B5EF4-FFF2-40B4-BE49-F238E27FC236}">
                <a16:creationId xmlns:a16="http://schemas.microsoft.com/office/drawing/2014/main" xmlns="" id="{117FDD59-F113-45C9-B7D7-50446ABD134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82564" y="3424238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FD9F1D-DC58-44BE-8863-55604FAF2ACD}" type="datetime'''''''''''''1''''''''''''''''''''''''.50''''''0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31" name="Marcador de texto 2">
            <a:extLst>
              <a:ext uri="{FF2B5EF4-FFF2-40B4-BE49-F238E27FC236}">
                <a16:creationId xmlns:a16="http://schemas.microsoft.com/office/drawing/2014/main" xmlns="" id="{8FA3B488-00EB-4DD1-9355-BC1D3C3B656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82564" y="3213100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E3DC42-FDD1-4F6B-80DA-3AC82CA2A181}" type="datetime'''''''''''2''''''''.''''''''''0''0''''''''0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33" name="Marcador de texto 2">
            <a:extLst>
              <a:ext uri="{FF2B5EF4-FFF2-40B4-BE49-F238E27FC236}">
                <a16:creationId xmlns:a16="http://schemas.microsoft.com/office/drawing/2014/main" xmlns="" id="{96E20E21-98A6-41D8-BD9E-F8B2AED9D78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82564" y="279082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E949B7-9C0C-44EC-BD60-0779CC188227}" type="datetime'''''''''''''3''''.''''''''''''''''0''''''''''''''''''''0''0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34" name="Marcador de texto 2">
            <a:extLst>
              <a:ext uri="{FF2B5EF4-FFF2-40B4-BE49-F238E27FC236}">
                <a16:creationId xmlns:a16="http://schemas.microsoft.com/office/drawing/2014/main" xmlns="" id="{1C4714D7-52B8-404E-AA53-C9B089845D8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82564" y="2322513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C5AC10-2161-40E1-A73E-0A8EEF7D6BE8}" type="datetime'''''''4.''''''''''''''''''''5''''''''''''0''0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5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35" name="Marcador de texto 2">
            <a:extLst>
              <a:ext uri="{FF2B5EF4-FFF2-40B4-BE49-F238E27FC236}">
                <a16:creationId xmlns:a16="http://schemas.microsoft.com/office/drawing/2014/main" xmlns="" id="{D904B8D5-9C34-4FFF-A55D-DE7471FA151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82564" y="211137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B40827-1B0E-4CB1-82B2-F571090A4A58}" type="datetime'5.''''''''''0''0''''''''''''''''''0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29" name="Marcador de texto 2">
            <a:extLst>
              <a:ext uri="{FF2B5EF4-FFF2-40B4-BE49-F238E27FC236}">
                <a16:creationId xmlns:a16="http://schemas.microsoft.com/office/drawing/2014/main" xmlns="" id="{0278E057-208B-4F89-AB52-BA6AA137979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82564" y="363537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5B1EB5-D563-422D-964E-B5ABA3ACCA4C}" type="datetime'''''''''''''''''1''''''.''''0''''0''0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 useBgFill="1">
        <p:nvSpPr>
          <p:cNvPr id="336" name="Forma libre: forma 335">
            <a:extLst>
              <a:ext uri="{FF2B5EF4-FFF2-40B4-BE49-F238E27FC236}">
                <a16:creationId xmlns:a16="http://schemas.microsoft.com/office/drawing/2014/main" xmlns="" id="{D197C32A-79B0-4898-B724-942E90F954BB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3379788" y="2559050"/>
            <a:ext cx="161926" cy="100014"/>
          </a:xfrm>
          <a:custGeom>
            <a:avLst/>
            <a:gdLst/>
            <a:ahLst/>
            <a:cxnLst/>
            <a:rect l="0" t="0" r="0" b="0"/>
            <a:pathLst>
              <a:path w="161926" h="100014">
                <a:moveTo>
                  <a:pt x="0" y="42863"/>
                </a:moveTo>
                <a:lnTo>
                  <a:pt x="161925" y="0"/>
                </a:lnTo>
                <a:lnTo>
                  <a:pt x="161925" y="57150"/>
                </a:lnTo>
                <a:lnTo>
                  <a:pt x="0" y="1000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152" name="Forma libre: forma 151">
            <a:extLst>
              <a:ext uri="{FF2B5EF4-FFF2-40B4-BE49-F238E27FC236}">
                <a16:creationId xmlns:a16="http://schemas.microsoft.com/office/drawing/2014/main" xmlns="" id="{48EDC337-6278-4DB9-A21D-EA9C1F9CF945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66725" y="256063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339" name="Forma libre: forma 338">
            <a:extLst>
              <a:ext uri="{FF2B5EF4-FFF2-40B4-BE49-F238E27FC236}">
                <a16:creationId xmlns:a16="http://schemas.microsoft.com/office/drawing/2014/main" xmlns="" id="{D8A78222-6B62-40B6-B3BB-AA5BBDE69FDD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3854450" y="2559050"/>
            <a:ext cx="161926" cy="100014"/>
          </a:xfrm>
          <a:custGeom>
            <a:avLst/>
            <a:gdLst/>
            <a:ahLst/>
            <a:cxnLst/>
            <a:rect l="0" t="0" r="0" b="0"/>
            <a:pathLst>
              <a:path w="161926" h="100014">
                <a:moveTo>
                  <a:pt x="0" y="42863"/>
                </a:moveTo>
                <a:lnTo>
                  <a:pt x="161925" y="0"/>
                </a:lnTo>
                <a:lnTo>
                  <a:pt x="161925" y="57150"/>
                </a:lnTo>
                <a:lnTo>
                  <a:pt x="0" y="100013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1" name="Forma libre: forma 150">
            <a:extLst>
              <a:ext uri="{FF2B5EF4-FFF2-40B4-BE49-F238E27FC236}">
                <a16:creationId xmlns:a16="http://schemas.microsoft.com/office/drawing/2014/main" xmlns="" id="{2A47E776-25B5-45B5-B1BE-1894A2BD41EC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466725" y="26177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38" name="Forma libre: forma 337">
            <a:extLst>
              <a:ext uri="{FF2B5EF4-FFF2-40B4-BE49-F238E27FC236}">
                <a16:creationId xmlns:a16="http://schemas.microsoft.com/office/drawing/2014/main" xmlns="" id="{BAF86FA9-5321-4E30-A75D-DA6173761410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3854450" y="2616200"/>
            <a:ext cx="161926" cy="42864"/>
          </a:xfrm>
          <a:custGeom>
            <a:avLst/>
            <a:gdLst/>
            <a:ahLst/>
            <a:cxnLst/>
            <a:rect l="0" t="0" r="0" b="0"/>
            <a:pathLst>
              <a:path w="161926" h="42864">
                <a:moveTo>
                  <a:pt x="0" y="42863"/>
                </a:moveTo>
                <a:lnTo>
                  <a:pt x="161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9" name="Forma libre: forma 158">
            <a:extLst>
              <a:ext uri="{FF2B5EF4-FFF2-40B4-BE49-F238E27FC236}">
                <a16:creationId xmlns:a16="http://schemas.microsoft.com/office/drawing/2014/main" xmlns="" id="{2C4E3615-A5B9-40AD-95E6-44F758E094C7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3379788" y="2616200"/>
            <a:ext cx="161926" cy="42864"/>
          </a:xfrm>
          <a:custGeom>
            <a:avLst/>
            <a:gdLst/>
            <a:ahLst/>
            <a:cxnLst/>
            <a:rect l="0" t="0" r="0" b="0"/>
            <a:pathLst>
              <a:path w="161926" h="42864">
                <a:moveTo>
                  <a:pt x="0" y="42863"/>
                </a:moveTo>
                <a:lnTo>
                  <a:pt x="161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37" name="Forma libre: forma 336">
            <a:extLst>
              <a:ext uri="{FF2B5EF4-FFF2-40B4-BE49-F238E27FC236}">
                <a16:creationId xmlns:a16="http://schemas.microsoft.com/office/drawing/2014/main" xmlns="" id="{C25FE023-5F30-4A4B-A2B0-019BDC784EB4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3854450" y="2559050"/>
            <a:ext cx="161926" cy="42864"/>
          </a:xfrm>
          <a:custGeom>
            <a:avLst/>
            <a:gdLst/>
            <a:ahLst/>
            <a:cxnLst/>
            <a:rect l="0" t="0" r="0" b="0"/>
            <a:pathLst>
              <a:path w="161926" h="42864">
                <a:moveTo>
                  <a:pt x="0" y="42863"/>
                </a:moveTo>
                <a:lnTo>
                  <a:pt x="161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7" name="Forma libre: forma 156">
            <a:extLst>
              <a:ext uri="{FF2B5EF4-FFF2-40B4-BE49-F238E27FC236}">
                <a16:creationId xmlns:a16="http://schemas.microsoft.com/office/drawing/2014/main" xmlns="" id="{161F7E9A-3BD9-4B5D-BA62-BD4F9780839B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3379788" y="2559050"/>
            <a:ext cx="161926" cy="42864"/>
          </a:xfrm>
          <a:custGeom>
            <a:avLst/>
            <a:gdLst/>
            <a:ahLst/>
            <a:cxnLst/>
            <a:rect l="0" t="0" r="0" b="0"/>
            <a:pathLst>
              <a:path w="161926" h="42864">
                <a:moveTo>
                  <a:pt x="0" y="42863"/>
                </a:moveTo>
                <a:lnTo>
                  <a:pt x="1619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0" name="Forma libre: forma 149">
            <a:extLst>
              <a:ext uri="{FF2B5EF4-FFF2-40B4-BE49-F238E27FC236}">
                <a16:creationId xmlns:a16="http://schemas.microsoft.com/office/drawing/2014/main" xmlns="" id="{CCB170CE-4E35-4F13-BD86-49DF690AD11F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466725" y="25606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74" name="Marcador de texto 2">
            <a:extLst>
              <a:ext uri="{FF2B5EF4-FFF2-40B4-BE49-F238E27FC236}">
                <a16:creationId xmlns:a16="http://schemas.microsoft.com/office/drawing/2014/main" xmlns="" id="{59CAAAD1-0300-4FB8-A3BB-10544DEA812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7224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893E25-BA1E-49D4-9029-9FF6A49B48A7}" type="datetime'''''''''''20''''''''''''''''0''''''''''''''''''''9'''''''''">
              <a:rPr lang="es-CL" altLang="en-US" sz="800" b="1" smtClean="0"/>
              <a:pPr/>
              <a:t>2009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0" name="Marcador de texto 2">
            <a:extLst>
              <a:ext uri="{FF2B5EF4-FFF2-40B4-BE49-F238E27FC236}">
                <a16:creationId xmlns:a16="http://schemas.microsoft.com/office/drawing/2014/main" xmlns="" id="{50A3F2E6-A14D-4BC7-9818-4C6BD83D2CB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6701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E90444-E867-475D-AE66-809C327D7FD7}" type="datetime'''''''''''''''''''''''2''0''''''''''''''''''''''''13'''">
              <a:rPr lang="es-CL" altLang="en-US" sz="800" b="1" smtClean="0"/>
              <a:pPr/>
              <a:t>2013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6" name="Marcador de texto 2">
            <a:extLst>
              <a:ext uri="{FF2B5EF4-FFF2-40B4-BE49-F238E27FC236}">
                <a16:creationId xmlns:a16="http://schemas.microsoft.com/office/drawing/2014/main" xmlns="" id="{2E5034CC-7F33-4F29-AFC7-90CDC438D9C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8560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625337-2014-4CC2-9678-F036B5F675DB}" type="datetime'''''201''''''''8'''''''''''''''''">
              <a:rPr lang="es-CL" altLang="en-US" sz="800" b="1" smtClean="0"/>
              <a:pPr/>
              <a:t>2018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7" name="Marcador de texto 2">
            <a:extLst>
              <a:ext uri="{FF2B5EF4-FFF2-40B4-BE49-F238E27FC236}">
                <a16:creationId xmlns:a16="http://schemas.microsoft.com/office/drawing/2014/main" xmlns="" id="{41BCC843-B7E2-4925-B01D-21D594A7F17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6195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999B66-104D-4625-BB7D-923C73FD134F}" type="datetime'''''''''''''''''''''''''2''''''''''0''1''''''''''''7'''''''''">
              <a:rPr lang="es-CL" altLang="en-US" sz="800" b="1" smtClean="0"/>
              <a:pPr/>
              <a:t>2017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1" name="Marcador de texto 2">
            <a:extLst>
              <a:ext uri="{FF2B5EF4-FFF2-40B4-BE49-F238E27FC236}">
                <a16:creationId xmlns:a16="http://schemas.microsoft.com/office/drawing/2014/main" xmlns="" id="{D19290C6-FB5A-42CC-954B-D0AC18B944B9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3813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40B6E2-B848-4E42-8FB0-057E72B7A1CC}" type="datetime'''''''''''''''''2''''''''''''''''''0''''''''''''1''''''''''6'">
              <a:rPr lang="es-CL" altLang="en-US" sz="800" b="1" smtClean="0"/>
              <a:pPr/>
              <a:t>2016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0" name="Marcador de texto 2">
            <a:extLst>
              <a:ext uri="{FF2B5EF4-FFF2-40B4-BE49-F238E27FC236}">
                <a16:creationId xmlns:a16="http://schemas.microsoft.com/office/drawing/2014/main" xmlns="" id="{4862FCAB-8404-45D6-8A0C-B730F215CACF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365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EB833A-BFAE-4874-9194-480E24D12036}" type="datetime'''''''2''0''''''''''''''''''''''''''''0''4'''''''">
              <a:rPr lang="es-CL" altLang="en-US" sz="800" b="1" smtClean="0"/>
              <a:pPr/>
              <a:t>2004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1" name="Marcador de texto 2">
            <a:extLst>
              <a:ext uri="{FF2B5EF4-FFF2-40B4-BE49-F238E27FC236}">
                <a16:creationId xmlns:a16="http://schemas.microsoft.com/office/drawing/2014/main" xmlns="" id="{B7BC833D-A17C-4101-B361-05F7BBA7EAC2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747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8137CE-33CD-4DF3-A9C8-07C3AD626775}" type="datetime'''''''''''''''2''''0''''''''''''''''''''''0''''''''''''5'''">
              <a:rPr lang="es-CL" altLang="en-US" sz="800" b="1" smtClean="0"/>
              <a:pPr/>
              <a:t>2005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3" name="Marcador de texto 2">
            <a:extLst>
              <a:ext uri="{FF2B5EF4-FFF2-40B4-BE49-F238E27FC236}">
                <a16:creationId xmlns:a16="http://schemas.microsoft.com/office/drawing/2014/main" xmlns="" id="{9E4D1023-60D3-424A-A69B-3DD787B7F0A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112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22482-52E6-46DF-9866-863C5D92FA4C}" type="datetime'2''''''''0''''''''''''''''''''0''''''6'''''''''''''''''">
              <a:rPr lang="es-CL" altLang="en-US" sz="800" b="1" smtClean="0"/>
              <a:pPr/>
              <a:t>2006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2" name="Marcador de texto 2">
            <a:extLst>
              <a:ext uri="{FF2B5EF4-FFF2-40B4-BE49-F238E27FC236}">
                <a16:creationId xmlns:a16="http://schemas.microsoft.com/office/drawing/2014/main" xmlns="" id="{51BDA472-5520-4E74-B7E4-03BA8640B8EE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29083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56D21-3942-4B7A-9697-AE70927D0DB0}" type="datetime'''2''''''0''''1''''''''''''''''''4'''''''">
              <a:rPr lang="es-CL" altLang="en-US" sz="800" b="1" smtClean="0"/>
              <a:pPr/>
              <a:t>2014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9" name="Marcador de texto 2">
            <a:extLst>
              <a:ext uri="{FF2B5EF4-FFF2-40B4-BE49-F238E27FC236}">
                <a16:creationId xmlns:a16="http://schemas.microsoft.com/office/drawing/2014/main" xmlns="" id="{81FF7920-FCB0-4AE0-BA76-48688CC164F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2477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9F6FA2-8445-4618-A8E5-EFF93A4C005A}" type="datetime'2''0''''''''''''''''''''''''''''''0''7'''">
              <a:rPr lang="es-CL" altLang="en-US" sz="800" b="1" smtClean="0"/>
              <a:pPr/>
              <a:t>2007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5" name="Marcador de texto 2">
            <a:extLst>
              <a:ext uri="{FF2B5EF4-FFF2-40B4-BE49-F238E27FC236}">
                <a16:creationId xmlns:a16="http://schemas.microsoft.com/office/drawing/2014/main" xmlns="" id="{75B1025A-59B2-4F03-8B46-F51AC944BCF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4859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B8900D-8A92-4BC5-816D-90E57A03E8F0}" type="datetime'''''''''2''''''''0''''''''''''''0''''''''''''8'''">
              <a:rPr lang="es-CL" altLang="en-US" sz="800" b="1" smtClean="0"/>
              <a:pPr/>
              <a:t>2008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3" name="Marcador de texto 2">
            <a:extLst>
              <a:ext uri="{FF2B5EF4-FFF2-40B4-BE49-F238E27FC236}">
                <a16:creationId xmlns:a16="http://schemas.microsoft.com/office/drawing/2014/main" xmlns="" id="{F75AEB84-D822-4526-A985-1D0B494BE44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9589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2E5F46-7B3C-4A44-8F67-E4233F39376E}" type="datetime'''''''''''''''''''2''''''''''''010'''''">
              <a:rPr lang="es-CL" altLang="en-US" sz="800" b="1" smtClean="0"/>
              <a:pPr/>
              <a:t>201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8" name="Marcador de texto 2">
            <a:extLst>
              <a:ext uri="{FF2B5EF4-FFF2-40B4-BE49-F238E27FC236}">
                <a16:creationId xmlns:a16="http://schemas.microsoft.com/office/drawing/2014/main" xmlns="" id="{6B645004-3E61-46CF-87C3-680616DEA13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4336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BFFE1-C5A7-41B0-A9CD-15CA6B16AF03}" type="datetime'''''''''''''2''''''''''0''1''''2'''''''''''''''''''''''''">
              <a:rPr lang="es-CL" altLang="en-US" sz="800" b="1" smtClean="0"/>
              <a:pPr/>
              <a:t>2012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2" name="Marcador de texto 2">
            <a:extLst>
              <a:ext uri="{FF2B5EF4-FFF2-40B4-BE49-F238E27FC236}">
                <a16:creationId xmlns:a16="http://schemas.microsoft.com/office/drawing/2014/main" xmlns="" id="{E879E81B-4E33-4AF8-B0EC-027A7D28DDF9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21971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F2706B-CD3F-4E0E-9F98-AE177F43DCE1}" type="datetime'''''''20''''''''''''''''''''''1''''''''''1'''''''''''''''">
              <a:rPr lang="es-CL" altLang="en-US" sz="800" b="1" smtClean="0"/>
              <a:pPr/>
              <a:t>2011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69" name="Marcador de texto 2">
            <a:extLst>
              <a:ext uri="{FF2B5EF4-FFF2-40B4-BE49-F238E27FC236}">
                <a16:creationId xmlns:a16="http://schemas.microsoft.com/office/drawing/2014/main" xmlns="" id="{91FA7565-FA0C-4428-BB14-C6E8DFFDE623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1448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AD0084-DABF-4B5C-814C-2A655BA3EF88}" type="datetime'''''''''''''''''2''''''''''''''''''''''0''''1''''''5'''''''">
              <a:rPr lang="es-CL" altLang="en-US" sz="800" b="1" smtClean="0"/>
              <a:pPr/>
              <a:t>2015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6" name="Rectángulo 285">
            <a:extLst>
              <a:ext uri="{FF2B5EF4-FFF2-40B4-BE49-F238E27FC236}">
                <a16:creationId xmlns:a16="http://schemas.microsoft.com/office/drawing/2014/main" xmlns="" id="{914D21A4-1587-4362-80E1-16F10CCA0E6F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03300" y="4398963"/>
            <a:ext cx="179388" cy="133350"/>
          </a:xfrm>
          <a:prstGeom prst="rect">
            <a:avLst/>
          </a:prstGeom>
          <a:solidFill>
            <a:srgbClr val="CCCCC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7" name="Rectángulo 286">
            <a:extLst>
              <a:ext uri="{FF2B5EF4-FFF2-40B4-BE49-F238E27FC236}">
                <a16:creationId xmlns:a16="http://schemas.microsoft.com/office/drawing/2014/main" xmlns="" id="{CA47D697-8EA6-480B-98E4-33868A9EC9F5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2366963" y="4398963"/>
            <a:ext cx="179388" cy="133350"/>
          </a:xfrm>
          <a:prstGeom prst="rect">
            <a:avLst/>
          </a:prstGeom>
          <a:solidFill>
            <a:srgbClr val="E27F2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1" name="Marcador de texto 2">
            <a:extLst>
              <a:ext uri="{FF2B5EF4-FFF2-40B4-BE49-F238E27FC236}">
                <a16:creationId xmlns:a16="http://schemas.microsoft.com/office/drawing/2014/main" xmlns="" id="{251C769D-0C45-4883-8E49-25BEDC56909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233488" y="4394200"/>
            <a:ext cx="10318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CB6B55-9A50-46CD-852C-F6657496D1A1}" type="datetime'''Inver''s''i''''ó''''''''''''n'' ''Indire''c''''t''a'">
              <a:rPr lang="es-CL" altLang="en-US" sz="1000" smtClean="0"/>
              <a:pPr/>
              <a:t>Inversión Indirecta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88" name="Marcador de texto 2">
            <a:extLst>
              <a:ext uri="{FF2B5EF4-FFF2-40B4-BE49-F238E27FC236}">
                <a16:creationId xmlns:a16="http://schemas.microsoft.com/office/drawing/2014/main" xmlns="" id="{9A479796-336C-45E1-A87E-B6E2331C707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2597150" y="4394200"/>
            <a:ext cx="949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6AC4AD-BA4C-4A25-91EE-64AEF881D948}" type="datetime'In''v''e''rs''''''i''ón'' ''Dir''e''''''c''''''''''t''a'">
              <a:rPr lang="es-CL" altLang="en-US" sz="1000" smtClean="0"/>
              <a:pPr/>
              <a:t>Inversión Directa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72BBBDAE-C900-4742-988B-AA88B59A6C00}"/>
              </a:ext>
            </a:extLst>
          </p:cNvPr>
          <p:cNvSpPr/>
          <p:nvPr/>
        </p:nvSpPr>
        <p:spPr>
          <a:xfrm>
            <a:off x="2906713" y="2079625"/>
            <a:ext cx="1281112" cy="2274883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146945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xmlns="" id="{28B2A7E2-AD6D-4E5B-BF03-7224B090BD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70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Diapositiva de think-cell" r:id="rId100" imgW="421" imgH="423" progId="TCLayout.ActiveDocument.1">
                  <p:embed/>
                </p:oleObj>
              </mc:Choice>
              <mc:Fallback>
                <p:oleObj name="Diapositiva de think-cell" r:id="rId100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xmlns="" id="{28B2A7E2-AD6D-4E5B-BF03-7224B090B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xmlns="" id="{8DEBC2FB-DED4-4C1B-BF7F-9F13683E35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8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539561C7-97B3-48EE-B265-5C6F81A3F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929"/>
            <a:ext cx="7270750" cy="994479"/>
          </a:xfrm>
        </p:spPr>
        <p:txBody>
          <a:bodyPr>
            <a:normAutofit/>
          </a:bodyPr>
          <a:lstStyle/>
          <a:p>
            <a:r>
              <a:rPr lang="es-CL" sz="2000" b="1" dirty="0">
                <a:solidFill>
                  <a:srgbClr val="FFA300"/>
                </a:solidFill>
              </a:rPr>
              <a:t>RESULTADOS DICIEMBRE 2018</a:t>
            </a:r>
            <a:r>
              <a:rPr lang="es-CL" sz="2000" dirty="0"/>
              <a:t/>
            </a:r>
            <a:br>
              <a:rPr lang="es-CL" sz="2000" dirty="0"/>
            </a:br>
            <a:r>
              <a:rPr lang="es-MX" sz="1100" b="1" dirty="0">
                <a:solidFill>
                  <a:srgbClr val="222222"/>
                </a:solidFill>
              </a:rPr>
              <a:t>Los Fondos Mobiliarios llegaron a US$16.496 millones de dólares bajo administración, creciendo un 2,5% en 2018. Los Inmobiliarios, alcanzaron los US$3.518, aumentando un 12% el año pasado.</a:t>
            </a:r>
            <a:r>
              <a:rPr lang="es-MX" sz="2000" dirty="0">
                <a:solidFill>
                  <a:srgbClr val="222222"/>
                </a:solidFill>
              </a:rPr>
              <a:t/>
            </a:r>
            <a:br>
              <a:rPr lang="es-MX" sz="2000" dirty="0">
                <a:solidFill>
                  <a:srgbClr val="222222"/>
                </a:solidFill>
              </a:rPr>
            </a:br>
            <a:endParaRPr lang="es-CL" sz="2000" b="1" dirty="0"/>
          </a:p>
        </p:txBody>
      </p:sp>
      <p:sp>
        <p:nvSpPr>
          <p:cNvPr id="170" name="CuadroTexto 169">
            <a:extLst>
              <a:ext uri="{FF2B5EF4-FFF2-40B4-BE49-F238E27FC236}">
                <a16:creationId xmlns:a16="http://schemas.microsoft.com/office/drawing/2014/main" xmlns="" id="{9CFF5459-FF9C-4A37-BBD9-BA6897EE4B7C}"/>
              </a:ext>
            </a:extLst>
          </p:cNvPr>
          <p:cNvSpPr txBox="1"/>
          <p:nvPr/>
        </p:nvSpPr>
        <p:spPr>
          <a:xfrm>
            <a:off x="4257675" y="1373188"/>
            <a:ext cx="4743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Activos Administrados Fondos Inmobiliarios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millones de dólares, MUS$)</a:t>
            </a:r>
          </a:p>
        </p:txBody>
      </p: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xmlns="" id="{16F784B3-E6B6-4718-801A-3B9F1DE5792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703763" y="410845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xmlns="" id="{70B8D59A-1851-489F-A081-2A26B87C0C6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703763" y="3706813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>
            <a:extLst>
              <a:ext uri="{FF2B5EF4-FFF2-40B4-BE49-F238E27FC236}">
                <a16:creationId xmlns:a16="http://schemas.microsoft.com/office/drawing/2014/main" xmlns="" id="{717BEE91-9DE2-4EA2-BCFA-3F55235BE04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703763" y="2563813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:a16="http://schemas.microsoft.com/office/drawing/2014/main" xmlns="" id="{F524D1A3-B440-49DE-B060-F43DC8CCDF1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703763" y="3305175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recto 92">
            <a:extLst>
              <a:ext uri="{FF2B5EF4-FFF2-40B4-BE49-F238E27FC236}">
                <a16:creationId xmlns:a16="http://schemas.microsoft.com/office/drawing/2014/main" xmlns="" id="{F5D2430F-B0C9-4899-9FC1-3BCFBE82F8F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703763" y="2162175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1" name="Chart 3">
            <a:extLst>
              <a:ext uri="{FF2B5EF4-FFF2-40B4-BE49-F238E27FC236}">
                <a16:creationId xmlns:a16="http://schemas.microsoft.com/office/drawing/2014/main" xmlns="" id="{0DCC72A0-B8FC-4B2A-A822-EE973951EE7D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85528739"/>
              </p:ext>
            </p:extLst>
          </p:nvPr>
        </p:nvGraphicFramePr>
        <p:xfrm>
          <a:off x="4654550" y="2079625"/>
          <a:ext cx="4346575" cy="211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sp>
        <p:nvSpPr>
          <p:cNvPr id="187" name="Marcador de texto 2">
            <a:extLst>
              <a:ext uri="{FF2B5EF4-FFF2-40B4-BE49-F238E27FC236}">
                <a16:creationId xmlns:a16="http://schemas.microsoft.com/office/drawing/2014/main" xmlns="" id="{2F8A56CD-CFC8-4475-945E-4AE645F562E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379913" y="2513013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30C84C-458E-43E1-9E04-3E71E4E24174}" type="datetime'''''''''''''''''''''2.''''0''''''''''''''''''''''0''0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85" name="Marcador de texto 2">
            <a:extLst>
              <a:ext uri="{FF2B5EF4-FFF2-40B4-BE49-F238E27FC236}">
                <a16:creationId xmlns:a16="http://schemas.microsoft.com/office/drawing/2014/main" xmlns="" id="{C7DAFCB3-B289-4E83-BA8C-C0AD9CD6DCC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465638" y="3656013"/>
            <a:ext cx="1714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B627BB-A0D7-429C-87E7-CBDD1EB550B6}" type="datetime'''''''''''''''''''''''5''0''''''''''''''''''''''''''0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84" name="Marcador de texto 2">
            <a:extLst>
              <a:ext uri="{FF2B5EF4-FFF2-40B4-BE49-F238E27FC236}">
                <a16:creationId xmlns:a16="http://schemas.microsoft.com/office/drawing/2014/main" xmlns="" id="{2E33E16F-61DA-4E79-A8C7-D4F60E7AFFA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79938" y="4057650"/>
            <a:ext cx="571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8CB3BE-01FB-4BC3-B313-B56E64AC288A}" type="datetime'''''''''''''''''''''''''''''''''''''''''''0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88" name="Marcador de texto 2">
            <a:extLst>
              <a:ext uri="{FF2B5EF4-FFF2-40B4-BE49-F238E27FC236}">
                <a16:creationId xmlns:a16="http://schemas.microsoft.com/office/drawing/2014/main" xmlns="" id="{00425B6E-7E47-41C4-9F77-EE40D8B73C4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379913" y="211137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5AA3F2-987C-41F1-AC1B-2A97DC7C5952}" type="datetime'''''''''''''''2''.''5''''00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86" name="Marcador de texto 2">
            <a:extLst>
              <a:ext uri="{FF2B5EF4-FFF2-40B4-BE49-F238E27FC236}">
                <a16:creationId xmlns:a16="http://schemas.microsoft.com/office/drawing/2014/main" xmlns="" id="{E8411A46-4B2B-4010-A37C-4B524A2BE8C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79913" y="325437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7E9CE80-357C-4ABA-AEB6-E2D9FCEE31C3}" type="datetime'1''''''''''''.''''''''0''''''''''''''0''''''''0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 useBgFill="1">
        <p:nvSpPr>
          <p:cNvPr id="50" name="Forma libre: forma 49">
            <a:extLst>
              <a:ext uri="{FF2B5EF4-FFF2-40B4-BE49-F238E27FC236}">
                <a16:creationId xmlns:a16="http://schemas.microsoft.com/office/drawing/2014/main" xmlns="" id="{AB077A1F-0181-40AB-ACFF-F34657AD955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664075" y="2836863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53" name="Forma libre: forma 52">
            <a:extLst>
              <a:ext uri="{FF2B5EF4-FFF2-40B4-BE49-F238E27FC236}">
                <a16:creationId xmlns:a16="http://schemas.microsoft.com/office/drawing/2014/main" xmlns="" id="{B66B186A-5621-481B-B648-BEE198904B5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059738" y="2836863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56" name="Forma libre: forma 55">
            <a:extLst>
              <a:ext uri="{FF2B5EF4-FFF2-40B4-BE49-F238E27FC236}">
                <a16:creationId xmlns:a16="http://schemas.microsoft.com/office/drawing/2014/main" xmlns="" id="{6A41C553-8A8C-480B-8115-2CE43F685914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339138" y="2836863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59" name="Forma libre: forma 58">
            <a:extLst>
              <a:ext uri="{FF2B5EF4-FFF2-40B4-BE49-F238E27FC236}">
                <a16:creationId xmlns:a16="http://schemas.microsoft.com/office/drawing/2014/main" xmlns="" id="{DF7C62A3-7A75-4193-8D61-48532F636C2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616950" y="2836863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5" name="Forma libre: forma 54">
            <a:extLst>
              <a:ext uri="{FF2B5EF4-FFF2-40B4-BE49-F238E27FC236}">
                <a16:creationId xmlns:a16="http://schemas.microsoft.com/office/drawing/2014/main" xmlns="" id="{57E68498-213B-48FC-89C1-5983DF9F8A6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339138" y="289401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xmlns="" id="{B6F6DEBE-A5C9-4C10-971B-1C3635958DD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4664075" y="283686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9" name="Forma libre: forma 48">
            <a:extLst>
              <a:ext uri="{FF2B5EF4-FFF2-40B4-BE49-F238E27FC236}">
                <a16:creationId xmlns:a16="http://schemas.microsoft.com/office/drawing/2014/main" xmlns="" id="{E9B2EC25-53C4-4889-B2FC-9BFCE017295E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664075" y="289401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1" name="Forma libre: forma 50">
            <a:extLst>
              <a:ext uri="{FF2B5EF4-FFF2-40B4-BE49-F238E27FC236}">
                <a16:creationId xmlns:a16="http://schemas.microsoft.com/office/drawing/2014/main" xmlns="" id="{4B8875E4-11A9-4693-849E-00F9DFB0273B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059738" y="283686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4" name="Forma libre: forma 53">
            <a:extLst>
              <a:ext uri="{FF2B5EF4-FFF2-40B4-BE49-F238E27FC236}">
                <a16:creationId xmlns:a16="http://schemas.microsoft.com/office/drawing/2014/main" xmlns="" id="{A2EFEC2F-5721-4A18-B19C-19C87CCB779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339138" y="283686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8" name="Forma libre: forma 57">
            <a:extLst>
              <a:ext uri="{FF2B5EF4-FFF2-40B4-BE49-F238E27FC236}">
                <a16:creationId xmlns:a16="http://schemas.microsoft.com/office/drawing/2014/main" xmlns="" id="{EC801CF2-0DC1-4521-8D53-E64BAED2F7E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616950" y="289401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7" name="Forma libre: forma 56">
            <a:extLst>
              <a:ext uri="{FF2B5EF4-FFF2-40B4-BE49-F238E27FC236}">
                <a16:creationId xmlns:a16="http://schemas.microsoft.com/office/drawing/2014/main" xmlns="" id="{C858FA66-8CD2-419C-B948-FA471A764BBD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8616950" y="283686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2" name="Forma libre: forma 51">
            <a:extLst>
              <a:ext uri="{FF2B5EF4-FFF2-40B4-BE49-F238E27FC236}">
                <a16:creationId xmlns:a16="http://schemas.microsoft.com/office/drawing/2014/main" xmlns="" id="{2B375599-1349-4606-9E14-6DC018BD5DD3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8059738" y="289401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0" name="Marcador de texto 2">
            <a:extLst>
              <a:ext uri="{FF2B5EF4-FFF2-40B4-BE49-F238E27FC236}">
                <a16:creationId xmlns:a16="http://schemas.microsoft.com/office/drawing/2014/main" xmlns="" id="{BF8EA7B0-DE6D-41FA-A2C5-660DBDCD5C1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09942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8FD6B7-DCE4-49E8-8EC6-EF746F8FB33D}" type="datetime'2''01''6'''''''''''''''''''''''''''''''''''''''">
              <a:rPr lang="es-CL" altLang="en-US" sz="800" b="1" smtClean="0">
                <a:sym typeface="Arial" panose="020B0604020202020204" pitchFamily="34" charset="0"/>
              </a:rPr>
              <a:pPr/>
              <a:t>2016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2" name="Marcador de texto 2">
            <a:extLst>
              <a:ext uri="{FF2B5EF4-FFF2-40B4-BE49-F238E27FC236}">
                <a16:creationId xmlns:a16="http://schemas.microsoft.com/office/drawing/2014/main" xmlns="" id="{D3D6D8D3-0764-410D-AA54-42EA171FE42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86898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B24E63-C4A3-452E-8A0B-D9D815499464}" type="datetime'2''''''''''''''''''''''''0''''''''''''''''08'''''''''">
              <a:rPr lang="es-CL" altLang="en-US" sz="800" b="1" smtClean="0">
                <a:sym typeface="Arial" panose="020B0604020202020204" pitchFamily="34" charset="0"/>
              </a:rPr>
              <a:pPr/>
              <a:t>2008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8" name="Marcador de texto 2">
            <a:extLst>
              <a:ext uri="{FF2B5EF4-FFF2-40B4-BE49-F238E27FC236}">
                <a16:creationId xmlns:a16="http://schemas.microsoft.com/office/drawing/2014/main" xmlns="" id="{95F625F6-A965-439D-B3AD-80A0692B807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5422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72C1F1-42AE-429C-8C1F-80B34004997D}" type="datetime'''''''''''''''''2''''''''''''''''''0''''''1''''4'''''">
              <a:rPr lang="es-CL" altLang="en-US" sz="800" b="1" smtClean="0">
                <a:sym typeface="Arial" panose="020B0604020202020204" pitchFamily="34" charset="0"/>
              </a:rPr>
              <a:pPr/>
              <a:t>2014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4" name="Marcador de texto 2">
            <a:extLst>
              <a:ext uri="{FF2B5EF4-FFF2-40B4-BE49-F238E27FC236}">
                <a16:creationId xmlns:a16="http://schemas.microsoft.com/office/drawing/2014/main" xmlns="" id="{AA7E8CDE-D5EA-4D6A-BE7D-583BB367AD0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2778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41A18E-2CDC-4575-ADC8-B6FF8588627F}" type="datetime'''''20''''''''''''1''''''''''0'''''''''''''''''''''''''''''">
              <a:rPr lang="es-CL" altLang="en-US" sz="800" b="1" smtClean="0">
                <a:sym typeface="Arial" panose="020B0604020202020204" pitchFamily="34" charset="0"/>
              </a:rPr>
              <a:pPr/>
              <a:t>201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64" name="Marcador de texto 2">
            <a:extLst>
              <a:ext uri="{FF2B5EF4-FFF2-40B4-BE49-F238E27FC236}">
                <a16:creationId xmlns:a16="http://schemas.microsoft.com/office/drawing/2014/main" xmlns="" id="{92D8A65F-612C-422A-BD05-9F90DD9916B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75456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E8EC42-8DAB-414A-87FD-6ADEA68551C8}" type="datetime'''''''''''''''''''''2''0''0''''''''''4'''''''''">
              <a:rPr lang="es-CL" altLang="en-US" sz="800" b="1" smtClean="0">
                <a:sym typeface="Arial" panose="020B0604020202020204" pitchFamily="34" charset="0"/>
              </a:rPr>
              <a:pPr/>
              <a:t>2004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65" name="Marcador de texto 2">
            <a:extLst>
              <a:ext uri="{FF2B5EF4-FFF2-40B4-BE49-F238E27FC236}">
                <a16:creationId xmlns:a16="http://schemas.microsoft.com/office/drawing/2014/main" xmlns="" id="{7F5B3732-7868-488D-A43A-DCF3ADDD862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03396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D24C6E-A198-4787-B5EF-CF50068D0E47}" type="datetime'2''''''''''''00''''5'''''''''''''''''">
              <a:rPr lang="es-CL" altLang="en-US" sz="800" b="1" smtClean="0">
                <a:sym typeface="Arial" panose="020B0604020202020204" pitchFamily="34" charset="0"/>
              </a:rPr>
              <a:pPr/>
              <a:t>2005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66" name="Marcador de texto 2">
            <a:extLst>
              <a:ext uri="{FF2B5EF4-FFF2-40B4-BE49-F238E27FC236}">
                <a16:creationId xmlns:a16="http://schemas.microsoft.com/office/drawing/2014/main" xmlns="" id="{BFF3CE4D-9F32-4FE7-9DEF-978D70D4EA8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117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21CF43-9996-4C17-B073-4A96EEBFE50E}" type="datetime'''''''''2''''''''0''''''''''''''''''''''''''''''''06'''''''''">
              <a:rPr lang="es-CL" altLang="en-US" sz="800" b="1" smtClean="0">
                <a:sym typeface="Arial" panose="020B0604020202020204" pitchFamily="34" charset="0"/>
              </a:rPr>
              <a:pPr/>
              <a:t>2006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1" name="Marcador de texto 2">
            <a:extLst>
              <a:ext uri="{FF2B5EF4-FFF2-40B4-BE49-F238E27FC236}">
                <a16:creationId xmlns:a16="http://schemas.microsoft.com/office/drawing/2014/main" xmlns="" id="{3A864CE3-BF47-4EE0-AD26-198CEDC1416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5911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D6F821-4029-4760-AAE3-25AF4BB1E370}" type="datetime'''''''''''''''''''''''''''2''00''''7'''''''''''''''''''">
              <a:rPr lang="es-CL" altLang="en-US" sz="800" b="1" smtClean="0">
                <a:sym typeface="Arial" panose="020B0604020202020204" pitchFamily="34" charset="0"/>
              </a:rPr>
              <a:pPr/>
              <a:t>2007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3" name="Marcador de texto 2">
            <a:extLst>
              <a:ext uri="{FF2B5EF4-FFF2-40B4-BE49-F238E27FC236}">
                <a16:creationId xmlns:a16="http://schemas.microsoft.com/office/drawing/2014/main" xmlns="" id="{5C8718D2-6F98-4C98-A57A-8E240EFB423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14838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54297C-93A5-4D91-BCE3-B8A0F58CCE0E}" type="datetime'''''2''''0''''''''''''''''0''''''''''9'''''''''''''''">
              <a:rPr lang="es-CL" altLang="en-US" sz="800" b="1" smtClean="0">
                <a:sym typeface="Arial" panose="020B0604020202020204" pitchFamily="34" charset="0"/>
              </a:rPr>
              <a:pPr/>
              <a:t>2009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5" name="Marcador de texto 2">
            <a:extLst>
              <a:ext uri="{FF2B5EF4-FFF2-40B4-BE49-F238E27FC236}">
                <a16:creationId xmlns:a16="http://schemas.microsoft.com/office/drawing/2014/main" xmlns="" id="{B6AD42A3-630C-4338-A8F6-78FAE8B6A3D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7056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910A55-86CB-4EB5-947D-0B0C2D7A10F1}" type="datetime'2''''''0''''''''''''''''1''1'''''''''''''">
              <a:rPr lang="es-CL" altLang="en-US" sz="800" b="1" smtClean="0">
                <a:sym typeface="Arial" panose="020B0604020202020204" pitchFamily="34" charset="0"/>
              </a:rPr>
              <a:pPr/>
              <a:t>2011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6" name="Marcador de texto 2">
            <a:extLst>
              <a:ext uri="{FF2B5EF4-FFF2-40B4-BE49-F238E27FC236}">
                <a16:creationId xmlns:a16="http://schemas.microsoft.com/office/drawing/2014/main" xmlns="" id="{90DA5BF8-2B1E-4DB4-A924-1A74EFC5E6C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9850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20590D-C462-4FE3-A515-EF536C4B6F16}" type="datetime'''''''''''''''''''2''''''''''0''1''''''''''''''''''''2'''">
              <a:rPr lang="es-CL" altLang="en-US" sz="800" b="1" smtClean="0">
                <a:sym typeface="Arial" panose="020B0604020202020204" pitchFamily="34" charset="0"/>
              </a:rPr>
              <a:pPr/>
              <a:t>2012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7" name="Marcador de texto 2">
            <a:extLst>
              <a:ext uri="{FF2B5EF4-FFF2-40B4-BE49-F238E27FC236}">
                <a16:creationId xmlns:a16="http://schemas.microsoft.com/office/drawing/2014/main" xmlns="" id="{7BDD20B1-BE4D-4EAB-BCFA-ACBD5DA15D5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2628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F7EFEE-82DF-40F6-88DD-463A6FDD08D7}" type="datetime'2''''''''''''''''''''0''1''''''''3'''''''''''''''">
              <a:rPr lang="es-CL" altLang="en-US" sz="800" b="1" smtClean="0">
                <a:sym typeface="Arial" panose="020B0604020202020204" pitchFamily="34" charset="0"/>
              </a:rPr>
              <a:pPr/>
              <a:t>2013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79" name="Marcador de texto 2">
            <a:extLst>
              <a:ext uri="{FF2B5EF4-FFF2-40B4-BE49-F238E27FC236}">
                <a16:creationId xmlns:a16="http://schemas.microsoft.com/office/drawing/2014/main" xmlns="" id="{130A45D2-9561-4552-80B1-8531C8FFF5C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8216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24893E-8569-4D02-BE49-E547FE640109}" type="datetime'''''''2''''''''0''''''''''''''''''''''''1''5'">
              <a:rPr lang="es-CL" altLang="en-US" sz="800" b="1" smtClean="0">
                <a:sym typeface="Arial" panose="020B0604020202020204" pitchFamily="34" charset="0"/>
              </a:rPr>
              <a:pPr/>
              <a:t>2015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81" name="Marcador de texto 2">
            <a:extLst>
              <a:ext uri="{FF2B5EF4-FFF2-40B4-BE49-F238E27FC236}">
                <a16:creationId xmlns:a16="http://schemas.microsoft.com/office/drawing/2014/main" xmlns="" id="{4F0475EC-F2CE-4BD1-8896-56C6E579643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37882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32ABF2-6B06-494E-BBE1-0D2B830BCAAF}" type="datetime'''''''''''''''''''''''''2''01''''''7'''''">
              <a:rPr lang="es-CL" altLang="en-US" sz="800" b="1" smtClean="0">
                <a:sym typeface="Arial" panose="020B0604020202020204" pitchFamily="34" charset="0"/>
              </a:rPr>
              <a:pPr/>
              <a:t>2017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82" name="Marcador de texto 2">
            <a:extLst>
              <a:ext uri="{FF2B5EF4-FFF2-40B4-BE49-F238E27FC236}">
                <a16:creationId xmlns:a16="http://schemas.microsoft.com/office/drawing/2014/main" xmlns="" id="{2DCB62E9-785D-427A-920B-C450785D8C53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656638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3EDFFC-020D-4DEE-8C64-40C5525F389B}" type="datetime'2''0''''1''8'''''">
              <a:rPr lang="es-CL" altLang="en-US" sz="800" b="1" smtClean="0">
                <a:sym typeface="Arial" panose="020B0604020202020204" pitchFamily="34" charset="0"/>
              </a:rPr>
              <a:pPr/>
              <a:t>2018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41559272-910C-46AD-A394-5CF63CB52004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7032625" y="4398963"/>
            <a:ext cx="179388" cy="133350"/>
          </a:xfrm>
          <a:prstGeom prst="rect">
            <a:avLst/>
          </a:prstGeom>
          <a:solidFill>
            <a:srgbClr val="FAAF3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xmlns="" id="{75F6220A-2AB6-40B0-9E3C-91128F58D381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391150" y="4398963"/>
            <a:ext cx="179388" cy="133350"/>
          </a:xfrm>
          <a:prstGeom prst="rect">
            <a:avLst/>
          </a:prstGeom>
          <a:solidFill>
            <a:srgbClr val="CCCCC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780DC149-6FE0-43BA-A3F8-C230820225F2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122988" y="4398963"/>
            <a:ext cx="179388" cy="133350"/>
          </a:xfrm>
          <a:prstGeom prst="rect">
            <a:avLst/>
          </a:prstGeom>
          <a:solidFill>
            <a:srgbClr val="81838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BDB9B2CF-B789-47B1-93C8-C9C2DEA582CC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7877175" y="4398963"/>
            <a:ext cx="179388" cy="133350"/>
          </a:xfrm>
          <a:prstGeom prst="rect">
            <a:avLst/>
          </a:prstGeom>
          <a:solidFill>
            <a:srgbClr val="E27F2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3" name="Marcador de texto 2">
            <a:extLst>
              <a:ext uri="{FF2B5EF4-FFF2-40B4-BE49-F238E27FC236}">
                <a16:creationId xmlns:a16="http://schemas.microsoft.com/office/drawing/2014/main" xmlns="" id="{4C3E8D1E-44D7-4C2B-B821-68AA4454932E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107363" y="4394200"/>
            <a:ext cx="303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AE80D1-1428-43FA-B389-84255F4F795C}" type="datetime'''''M''''''''''''''''''i''''''''xt''''''''o'''''''''''''">
              <a:rPr lang="es-CL" altLang="en-US" sz="1000" smtClean="0"/>
              <a:pPr/>
              <a:t>Mixto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25" name="Marcador de texto 2">
            <a:extLst>
              <a:ext uri="{FF2B5EF4-FFF2-40B4-BE49-F238E27FC236}">
                <a16:creationId xmlns:a16="http://schemas.microsoft.com/office/drawing/2014/main" xmlns="" id="{20EB14E5-0B8A-4D5D-8DCF-1F3BBBD3FF4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621338" y="4394200"/>
            <a:ext cx="400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30C871-AA3C-4F28-B14B-40794DEECB4F}" type="datetime'''''''''''''''''R''''''''''''''''e''''''''nt''''''as'''''''">
              <a:rPr lang="es-CL" altLang="en-US" sz="1000" smtClean="0"/>
              <a:pPr/>
              <a:t>Renta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62" name="Marcador de texto 2">
            <a:extLst>
              <a:ext uri="{FF2B5EF4-FFF2-40B4-BE49-F238E27FC236}">
                <a16:creationId xmlns:a16="http://schemas.microsoft.com/office/drawing/2014/main" xmlns="" id="{DA12A179-D389-4024-B779-B5D380C8A75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353175" y="4394200"/>
            <a:ext cx="577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FBFD35-0127-4AEB-94BA-0F68D739A93E}" type="datetime'''''De''''''''''''s''a''''''''''r''''ro''''''''l''''lo'''''''">
              <a:rPr lang="es-CL" altLang="en-US" sz="1000" smtClean="0"/>
              <a:pPr/>
              <a:t>Desarrollo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63" name="Marcador de texto 2">
            <a:extLst>
              <a:ext uri="{FF2B5EF4-FFF2-40B4-BE49-F238E27FC236}">
                <a16:creationId xmlns:a16="http://schemas.microsoft.com/office/drawing/2014/main" xmlns="" id="{E2DAA445-0F79-43FE-8BB0-D5C4816CC337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262813" y="4394200"/>
            <a:ext cx="5127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F9ECC0-28C8-448C-B021-D44408CC6257}" type="datetime'P''''''''''''l''u''''''''''''''''''sv''''''al''''ía'''">
              <a:rPr lang="es-CL" altLang="en-US" sz="1000" smtClean="0"/>
              <a:pPr/>
              <a:t>Plusvalía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81" name="CuadroTexto 180">
            <a:extLst>
              <a:ext uri="{FF2B5EF4-FFF2-40B4-BE49-F238E27FC236}">
                <a16:creationId xmlns:a16="http://schemas.microsoft.com/office/drawing/2014/main" xmlns="" id="{1BF1F799-4A95-4B98-9338-A328E59BD6CB}"/>
              </a:ext>
            </a:extLst>
          </p:cNvPr>
          <p:cNvSpPr txBox="1"/>
          <p:nvPr/>
        </p:nvSpPr>
        <p:spPr>
          <a:xfrm>
            <a:off x="-98424" y="1373188"/>
            <a:ext cx="4508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Activos Administrados Fondos Mobiliarios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millones de dólares, MUS$)</a:t>
            </a:r>
          </a:p>
        </p:txBody>
      </p:sp>
      <p:cxnSp>
        <p:nvCxnSpPr>
          <p:cNvPr id="256" name="Conector recto 255">
            <a:extLst>
              <a:ext uri="{FF2B5EF4-FFF2-40B4-BE49-F238E27FC236}">
                <a16:creationId xmlns:a16="http://schemas.microsoft.com/office/drawing/2014/main" xmlns="" id="{C740FCE7-CF97-41F1-93BC-22020F88BA06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>
            <a:off x="506413" y="3673475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ector recto 259">
            <a:extLst>
              <a:ext uri="{FF2B5EF4-FFF2-40B4-BE49-F238E27FC236}">
                <a16:creationId xmlns:a16="http://schemas.microsoft.com/office/drawing/2014/main" xmlns="" id="{1B9D4E49-95AD-44B2-A5E7-95DA56695EAC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506413" y="2803525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Conector recto 257">
            <a:extLst>
              <a:ext uri="{FF2B5EF4-FFF2-40B4-BE49-F238E27FC236}">
                <a16:creationId xmlns:a16="http://schemas.microsoft.com/office/drawing/2014/main" xmlns="" id="{E633A2F7-1DAE-40CA-8DA3-F871B27B4C0B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06413" y="3238500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Conector recto 261">
            <a:extLst>
              <a:ext uri="{FF2B5EF4-FFF2-40B4-BE49-F238E27FC236}">
                <a16:creationId xmlns:a16="http://schemas.microsoft.com/office/drawing/2014/main" xmlns="" id="{99A5E095-0572-4875-B49F-06566C05A98C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506413" y="2162175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xmlns="" id="{642B0F37-2D34-4E3E-8C2C-F1C60C380128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506413" y="4108450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Conector recto 258">
            <a:extLst>
              <a:ext uri="{FF2B5EF4-FFF2-40B4-BE49-F238E27FC236}">
                <a16:creationId xmlns:a16="http://schemas.microsoft.com/office/drawing/2014/main" xmlns="" id="{6FB62DEC-F416-4A61-86BA-030B6EA55BEE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506413" y="3021013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>
            <a:extLst>
              <a:ext uri="{FF2B5EF4-FFF2-40B4-BE49-F238E27FC236}">
                <a16:creationId xmlns:a16="http://schemas.microsoft.com/office/drawing/2014/main" xmlns="" id="{3DB0B4EF-C526-4013-BAF9-82CD5267B669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506413" y="3890963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Conector recto 256">
            <a:extLst>
              <a:ext uri="{FF2B5EF4-FFF2-40B4-BE49-F238E27FC236}">
                <a16:creationId xmlns:a16="http://schemas.microsoft.com/office/drawing/2014/main" xmlns="" id="{E9B863AC-EE50-4D88-A53D-8AD64BFF4EBE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>
            <a:off x="506413" y="3455988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Conector recto 260">
            <a:extLst>
              <a:ext uri="{FF2B5EF4-FFF2-40B4-BE49-F238E27FC236}">
                <a16:creationId xmlns:a16="http://schemas.microsoft.com/office/drawing/2014/main" xmlns="" id="{223CB7E2-F759-4526-ADF4-D61F3D5F212E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506413" y="2379663"/>
            <a:ext cx="333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7" name="Chart 3">
            <a:extLst>
              <a:ext uri="{FF2B5EF4-FFF2-40B4-BE49-F238E27FC236}">
                <a16:creationId xmlns:a16="http://schemas.microsoft.com/office/drawing/2014/main" xmlns="" id="{4156E587-4838-4FA4-8D1D-541F5F5B5913}"/>
              </a:ext>
            </a:extLst>
          </p:cNvPr>
          <p:cNvGraphicFramePr/>
          <p:nvPr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1046020046"/>
              </p:ext>
            </p:extLst>
          </p:nvPr>
        </p:nvGraphicFramePr>
        <p:xfrm>
          <a:off x="457200" y="2079625"/>
          <a:ext cx="3883025" cy="211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3"/>
          </a:graphicData>
        </a:graphic>
      </p:graphicFrame>
      <p:sp>
        <p:nvSpPr>
          <p:cNvPr id="142" name="Marcador de texto 2">
            <a:extLst>
              <a:ext uri="{FF2B5EF4-FFF2-40B4-BE49-F238E27FC236}">
                <a16:creationId xmlns:a16="http://schemas.microsoft.com/office/drawing/2014/main" xmlns="" id="{8B2A93CC-44AB-45F3-A7B0-318FA11E924F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82564" y="362267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941428-7343-45B9-AD37-4FF1DBC70E28}" type="datetime'''''''''''2''''''''.''''''''''0''0''''''''0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1" name="Marcador de texto 2">
            <a:extLst>
              <a:ext uri="{FF2B5EF4-FFF2-40B4-BE49-F238E27FC236}">
                <a16:creationId xmlns:a16="http://schemas.microsoft.com/office/drawing/2014/main" xmlns="" id="{F37F7E0A-5A59-472E-95B4-8C84ED03B94F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82564" y="3840163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0A5B93-783D-4B4E-9F8B-E47E183CD966}" type="datetime'''''''''''''''''1''''''.''''0''''0''0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0" name="Marcador de texto 2">
            <a:extLst>
              <a:ext uri="{FF2B5EF4-FFF2-40B4-BE49-F238E27FC236}">
                <a16:creationId xmlns:a16="http://schemas.microsoft.com/office/drawing/2014/main" xmlns="" id="{0BDC3BC2-7D09-4D99-BF79-627BE992917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382588" y="4057650"/>
            <a:ext cx="571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F5E724-50E9-49A0-A710-F6EAF3387CD7}" type="datetime'''''''''''''''''''''0''''''''''''''''''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8" name="Marcador de texto 2">
            <a:extLst>
              <a:ext uri="{FF2B5EF4-FFF2-40B4-BE49-F238E27FC236}">
                <a16:creationId xmlns:a16="http://schemas.microsoft.com/office/drawing/2014/main" xmlns="" id="{A79A2A0B-605D-4B1D-B1FA-84B10C61033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25414" y="2111375"/>
            <a:ext cx="31432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DB22AB3-282E-4BA8-A280-A6E1E99002CC}" type="datetime'''''''1''''''''0''''''''''''''''.''''''''0''''''''0''''''''0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7" name="Marcador de texto 2">
            <a:extLst>
              <a:ext uri="{FF2B5EF4-FFF2-40B4-BE49-F238E27FC236}">
                <a16:creationId xmlns:a16="http://schemas.microsoft.com/office/drawing/2014/main" xmlns="" id="{9A9051BE-2D96-4563-96EB-A6FBDEB89C92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82564" y="2328863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E72563-CDD3-4760-A094-585975545C2E}" type="datetime'''''''9.0''''''''''0''''''''''''''''''''0''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4" name="Marcador de texto 2">
            <a:extLst>
              <a:ext uri="{FF2B5EF4-FFF2-40B4-BE49-F238E27FC236}">
                <a16:creationId xmlns:a16="http://schemas.microsoft.com/office/drawing/2014/main" xmlns="" id="{0CBD8717-F6C3-42D5-982C-BC314AD7501D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82564" y="3187700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E8F6812-E79B-430B-9C42-1CCB32282C7A}" type="datetime'''4''''.''''''''''''0''''''''''''0''0''''''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6" name="Marcador de texto 2">
            <a:extLst>
              <a:ext uri="{FF2B5EF4-FFF2-40B4-BE49-F238E27FC236}">
                <a16:creationId xmlns:a16="http://schemas.microsoft.com/office/drawing/2014/main" xmlns="" id="{23F795E3-D8AC-4A27-B447-ADD0D041EA09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82564" y="275272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4B53AA-239B-4736-B1AE-D120D7898BA7}" type="datetime'''''''6''''.''0''''''''''''''''''0''''0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3" name="Marcador de texto 2">
            <a:extLst>
              <a:ext uri="{FF2B5EF4-FFF2-40B4-BE49-F238E27FC236}">
                <a16:creationId xmlns:a16="http://schemas.microsoft.com/office/drawing/2014/main" xmlns="" id="{B195559F-0B63-418E-BD26-73BB6CA50F3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82564" y="3405188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1BAD7C-565E-47D5-B97E-0665199ABA31}" type="datetime'''''''''''''3''''.''''''''''''''''0''''''''''''''''''''0''0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145" name="Marcador de texto 2">
            <a:extLst>
              <a:ext uri="{FF2B5EF4-FFF2-40B4-BE49-F238E27FC236}">
                <a16:creationId xmlns:a16="http://schemas.microsoft.com/office/drawing/2014/main" xmlns="" id="{69C0ADF8-602C-4036-A543-1A5D06156620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182564" y="2970213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6B7C6B7-7C0D-4BA2-84AD-73F3FB32AC78}" type="datetime'5.''''''''''0''0''''''''''''''''''0'''''''''''''''">
              <a:rPr lang="es-CL" altLang="en-US" sz="800" b="1" smtClean="0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00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 useBgFill="1">
        <p:nvSpPr>
          <p:cNvPr id="41" name="Forma libre: forma 40">
            <a:extLst>
              <a:ext uri="{FF2B5EF4-FFF2-40B4-BE49-F238E27FC236}">
                <a16:creationId xmlns:a16="http://schemas.microsoft.com/office/drawing/2014/main" xmlns="" id="{477ABB99-DAB6-4EF6-A467-558E818CAF86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3746500" y="25019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44" name="Forma libre: forma 43">
            <a:extLst>
              <a:ext uri="{FF2B5EF4-FFF2-40B4-BE49-F238E27FC236}">
                <a16:creationId xmlns:a16="http://schemas.microsoft.com/office/drawing/2014/main" xmlns="" id="{86AB6B95-8995-4BCA-8579-3136DEF34E98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3994150" y="25019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 useBgFill="1">
        <p:nvSpPr>
          <p:cNvPr id="38" name="Forma libre: forma 37">
            <a:extLst>
              <a:ext uri="{FF2B5EF4-FFF2-40B4-BE49-F238E27FC236}">
                <a16:creationId xmlns:a16="http://schemas.microsoft.com/office/drawing/2014/main" xmlns="" id="{A4625A26-3DCC-4884-B301-A82A0F91D385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466725" y="25019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Forma libre: forma 42">
            <a:extLst>
              <a:ext uri="{FF2B5EF4-FFF2-40B4-BE49-F238E27FC236}">
                <a16:creationId xmlns:a16="http://schemas.microsoft.com/office/drawing/2014/main" xmlns="" id="{589A3A19-1F00-416A-BE5E-DF0104B99688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3994150" y="25590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6" name="Forma libre: forma 35">
            <a:extLst>
              <a:ext uri="{FF2B5EF4-FFF2-40B4-BE49-F238E27FC236}">
                <a16:creationId xmlns:a16="http://schemas.microsoft.com/office/drawing/2014/main" xmlns="" id="{CCC4939E-11A6-45B1-9E3E-4AD88083F587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466725" y="25019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xmlns="" id="{EE589322-5315-4169-AA63-702AD3608604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3746500" y="25590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xmlns="" id="{05E8AE57-3A6F-49A7-8B29-43E1357AB047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466725" y="25590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xmlns="" id="{84849B15-A8C6-4424-945A-822D6F93CF6F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3746500" y="25019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2" name="Forma libre: forma 41">
            <a:extLst>
              <a:ext uri="{FF2B5EF4-FFF2-40B4-BE49-F238E27FC236}">
                <a16:creationId xmlns:a16="http://schemas.microsoft.com/office/drawing/2014/main" xmlns="" id="{454F6ACE-A6F8-4C01-BDD0-A5F176920053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3994150" y="25019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78" name="Marcador de texto 2">
            <a:extLst>
              <a:ext uri="{FF2B5EF4-FFF2-40B4-BE49-F238E27FC236}">
                <a16:creationId xmlns:a16="http://schemas.microsoft.com/office/drawing/2014/main" xmlns="" id="{6B645004-3E61-46CF-87C3-680616DEA137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25257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3BFFE1-C5A7-41B0-A9CD-15CA6B16AF03}" type="datetime'''''''''''''2''''''''''0''1''''2'''''''''''''''''''''''''">
              <a:rPr lang="es-CL" altLang="en-US" sz="800" b="1" smtClean="0"/>
              <a:pPr/>
              <a:t>2012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69" name="Marcador de texto 2">
            <a:extLst>
              <a:ext uri="{FF2B5EF4-FFF2-40B4-BE49-F238E27FC236}">
                <a16:creationId xmlns:a16="http://schemas.microsoft.com/office/drawing/2014/main" xmlns="" id="{91FA7565-FA0C-4428-BB14-C6E8DFFDE623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26866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AD0084-DABF-4B5C-814C-2A655BA3EF88}" type="datetime'''''''''''''''''2''''''''''''''''''''''0''''1''''''5'''''''">
              <a:rPr lang="es-CL" altLang="en-US" sz="800" b="1" smtClean="0"/>
              <a:pPr/>
              <a:t>2015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2" name="Marcador de texto 2">
            <a:extLst>
              <a:ext uri="{FF2B5EF4-FFF2-40B4-BE49-F238E27FC236}">
                <a16:creationId xmlns:a16="http://schemas.microsoft.com/office/drawing/2014/main" xmlns="" id="{51BDA472-5520-4E74-B7E4-03BA8640B8EE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30210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56D21-3942-4B7A-9697-AE70927D0DB0}" type="datetime'''2''''''0''''1''''''''''''''''''4'''''''">
              <a:rPr lang="es-CL" altLang="en-US" sz="800" b="1" smtClean="0"/>
              <a:pPr/>
              <a:t>2014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3" name="Marcador de texto 2">
            <a:extLst>
              <a:ext uri="{FF2B5EF4-FFF2-40B4-BE49-F238E27FC236}">
                <a16:creationId xmlns:a16="http://schemas.microsoft.com/office/drawing/2014/main" xmlns="" id="{F75AEB84-D822-4526-A985-1D0B494BE44C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20304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2E5F46-7B3C-4A44-8F67-E4233F39376E}" type="datetime'''''''''''''''''''2''''''''''''010'''''">
              <a:rPr lang="es-CL" altLang="en-US" sz="800" b="1" smtClean="0"/>
              <a:pPr/>
              <a:t>2010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4" name="Marcador de texto 2">
            <a:extLst>
              <a:ext uri="{FF2B5EF4-FFF2-40B4-BE49-F238E27FC236}">
                <a16:creationId xmlns:a16="http://schemas.microsoft.com/office/drawing/2014/main" xmlns="" id="{59CAAAD1-0300-4FB8-A3BB-10544DEA8120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78276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893E25-BA1E-49D4-9029-9FF6A49B48A7}" type="datetime'''''''''''20''''''''''''''''0''''''''''''''''''''9'''''''''">
              <a:rPr lang="es-CL" altLang="en-US" sz="800" b="1" smtClean="0"/>
              <a:pPr/>
              <a:t>2009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5" name="Marcador de texto 2">
            <a:extLst>
              <a:ext uri="{FF2B5EF4-FFF2-40B4-BE49-F238E27FC236}">
                <a16:creationId xmlns:a16="http://schemas.microsoft.com/office/drawing/2014/main" xmlns="" id="{75B1025A-59B2-4F03-8B46-F51AC944BCF7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53511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B8900D-8A92-4BC5-816D-90E57A03E8F0}" type="datetime'''''''''2''''''''0''''''''''''''0''''''''''''8'''">
              <a:rPr lang="es-CL" altLang="en-US" sz="800" b="1" smtClean="0"/>
              <a:pPr/>
              <a:t>2008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3" name="Marcador de texto 2">
            <a:extLst>
              <a:ext uri="{FF2B5EF4-FFF2-40B4-BE49-F238E27FC236}">
                <a16:creationId xmlns:a16="http://schemas.microsoft.com/office/drawing/2014/main" xmlns="" id="{9E4D1023-60D3-424A-A69B-3DD787B7F0A2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103822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022482-52E6-46DF-9866-863C5D92FA4C}" type="datetime'2''''''''0''''''''''''''''''''0''''''6'''''''''''''''''">
              <a:rPr lang="es-CL" altLang="en-US" sz="800" b="1" smtClean="0"/>
              <a:pPr/>
              <a:t>2006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1" name="Marcador de texto 2">
            <a:extLst>
              <a:ext uri="{FF2B5EF4-FFF2-40B4-BE49-F238E27FC236}">
                <a16:creationId xmlns:a16="http://schemas.microsoft.com/office/drawing/2014/main" xmlns="" id="{B7BC833D-A17C-4101-B361-05F7BBA7EAC2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7905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8137CE-33CD-4DF3-A9C8-07C3AD626775}" type="datetime'''''''''''''''2''''0''''''''''''''''''''''0''''''''''''5'''">
              <a:rPr lang="es-CL" altLang="en-US" sz="800" b="1" smtClean="0"/>
              <a:pPr/>
              <a:t>2005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0" name="Marcador de texto 2">
            <a:extLst>
              <a:ext uri="{FF2B5EF4-FFF2-40B4-BE49-F238E27FC236}">
                <a16:creationId xmlns:a16="http://schemas.microsoft.com/office/drawing/2014/main" xmlns="" id="{50A3F2E6-A14D-4BC7-9818-4C6BD83D2CB4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277336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E90444-E867-475D-AE66-809C327D7FD7}" type="datetime'''''''''''''''''''''''2''0''''''''''''''''''''''''13'''">
              <a:rPr lang="es-CL" altLang="en-US" sz="800" b="1" smtClean="0"/>
              <a:pPr/>
              <a:t>2013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6" name="Marcador de texto 2">
            <a:extLst>
              <a:ext uri="{FF2B5EF4-FFF2-40B4-BE49-F238E27FC236}">
                <a16:creationId xmlns:a16="http://schemas.microsoft.com/office/drawing/2014/main" xmlns="" id="{2E5034CC-7F33-4F29-AFC7-90CDC438D9C0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40132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625337-2014-4CC2-9678-F036B5F675DB}" type="datetime'''''201''''''''8'''''''''''''''''">
              <a:rPr lang="es-CL" altLang="en-US" sz="800" b="1" smtClean="0"/>
              <a:pPr/>
              <a:t>2018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9" name="Marcador de texto 2">
            <a:extLst>
              <a:ext uri="{FF2B5EF4-FFF2-40B4-BE49-F238E27FC236}">
                <a16:creationId xmlns:a16="http://schemas.microsoft.com/office/drawing/2014/main" xmlns="" id="{81FF7920-FCB0-4AE0-BA76-48688CC164FA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128587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9F6FA2-8445-4618-A8E5-EFF93A4C005A}" type="datetime'2''0''''''''''''''''''''''''''''''0''7'''">
              <a:rPr lang="es-CL" altLang="en-US" sz="800" b="1" smtClean="0"/>
              <a:pPr/>
              <a:t>2007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1" name="Marcador de texto 2">
            <a:extLst>
              <a:ext uri="{FF2B5EF4-FFF2-40B4-BE49-F238E27FC236}">
                <a16:creationId xmlns:a16="http://schemas.microsoft.com/office/drawing/2014/main" xmlns="" id="{D19290C6-FB5A-42CC-954B-D0AC18B944B9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351790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40B6E2-B848-4E42-8FB0-057E72B7A1CC}" type="datetime'''''''''''''''''2''''''''''''''''''0''''''''''''1''''''''''6'">
              <a:rPr lang="es-CL" altLang="en-US" sz="800" b="1" smtClean="0"/>
              <a:pPr/>
              <a:t>2016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2" name="Marcador de texto 2">
            <a:extLst>
              <a:ext uri="{FF2B5EF4-FFF2-40B4-BE49-F238E27FC236}">
                <a16:creationId xmlns:a16="http://schemas.microsoft.com/office/drawing/2014/main" xmlns="" id="{E879E81B-4E33-4AF8-B0EC-027A7D28DDF9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2278063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F2706B-CD3F-4E0E-9F98-AE177F43DCE1}" type="datetime'''''''20''''''''''''''''''''''1''''''''''1'''''''''''''''">
              <a:rPr lang="es-CL" altLang="en-US" sz="800" b="1" smtClean="0"/>
              <a:pPr/>
              <a:t>2011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0" name="Marcador de texto 2">
            <a:extLst>
              <a:ext uri="{FF2B5EF4-FFF2-40B4-BE49-F238E27FC236}">
                <a16:creationId xmlns:a16="http://schemas.microsoft.com/office/drawing/2014/main" xmlns="" id="{4862FCAB-8404-45D6-8A0C-B730F215CACF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542925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EB833A-BFAE-4874-9194-480E24D12036}" type="datetime'''''''2''0''''''''''''''''''''''''''''0''4'''''''">
              <a:rPr lang="es-CL" altLang="en-US" sz="800" b="1" smtClean="0"/>
              <a:pPr/>
              <a:t>2004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77" name="Marcador de texto 2">
            <a:extLst>
              <a:ext uri="{FF2B5EF4-FFF2-40B4-BE49-F238E27FC236}">
                <a16:creationId xmlns:a16="http://schemas.microsoft.com/office/drawing/2014/main" xmlns="" id="{41BCC843-B7E2-4925-B01D-21D594A7F17F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3765550" y="4141788"/>
            <a:ext cx="2413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999B66-104D-4625-BB7D-923C73FD134F}" type="datetime'''''''''''''''''''''''''2''''''''''0''1''''''''''''7'''''''''">
              <a:rPr lang="es-CL" altLang="en-US" sz="800" b="1" smtClean="0"/>
              <a:pPr/>
              <a:t>2017</a:t>
            </a:fld>
            <a:endParaRPr lang="es-CL" sz="800" b="1" dirty="0">
              <a:sym typeface="Arial" panose="020B0604020202020204" pitchFamily="34" charset="0"/>
            </a:endParaRPr>
          </a:p>
        </p:txBody>
      </p:sp>
      <p:sp>
        <p:nvSpPr>
          <p:cNvPr id="286" name="Rectángulo 285">
            <a:extLst>
              <a:ext uri="{FF2B5EF4-FFF2-40B4-BE49-F238E27FC236}">
                <a16:creationId xmlns:a16="http://schemas.microsoft.com/office/drawing/2014/main" xmlns="" id="{914D21A4-1587-4362-80E1-16F10CCA0E6F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1003300" y="4398963"/>
            <a:ext cx="179388" cy="133350"/>
          </a:xfrm>
          <a:prstGeom prst="rect">
            <a:avLst/>
          </a:prstGeom>
          <a:solidFill>
            <a:srgbClr val="CCCCC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C70FDB3D-7062-4C9E-813E-2DE12B3C5555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2692400" y="4398963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7" name="Rectángulo 286">
            <a:extLst>
              <a:ext uri="{FF2B5EF4-FFF2-40B4-BE49-F238E27FC236}">
                <a16:creationId xmlns:a16="http://schemas.microsoft.com/office/drawing/2014/main" xmlns="" id="{CA47D697-8EA6-480B-98E4-33868A9EC9F5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1706563" y="4398963"/>
            <a:ext cx="179388" cy="133350"/>
          </a:xfrm>
          <a:prstGeom prst="rect">
            <a:avLst/>
          </a:prstGeom>
          <a:solidFill>
            <a:srgbClr val="E27F2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8" name="Marcador de texto 2">
            <a:extLst>
              <a:ext uri="{FF2B5EF4-FFF2-40B4-BE49-F238E27FC236}">
                <a16:creationId xmlns:a16="http://schemas.microsoft.com/office/drawing/2014/main" xmlns="" id="{9A479796-336C-45E1-A87E-B6E2331C7076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936750" y="4394200"/>
            <a:ext cx="654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0D0868-67E2-488D-A2E0-48EB32FE6ABB}" type="datetime'A''''''''''c''''''c''''''i''o''na''ri''''''''o''''''s'''''">
              <a:rPr lang="es-CL" altLang="en-US" sz="1000" smtClean="0"/>
              <a:pPr/>
              <a:t>Accionarios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291" name="Marcador de texto 2">
            <a:extLst>
              <a:ext uri="{FF2B5EF4-FFF2-40B4-BE49-F238E27FC236}">
                <a16:creationId xmlns:a16="http://schemas.microsoft.com/office/drawing/2014/main" xmlns="" id="{251C769D-0C45-4883-8E49-25BEDC569096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1233488" y="4394200"/>
            <a:ext cx="3714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ACA062-F9E5-4DC2-A510-5F8336E608AE}" type="datetime'''''''''De''''''''''''''''''''''u''''d''''''''''''''''a'''''''">
              <a:rPr lang="es-CL" altLang="en-US" sz="1000" smtClean="0"/>
              <a:pPr/>
              <a:t>Deuda</a:t>
            </a:fld>
            <a:endParaRPr lang="es-CL" sz="1000" dirty="0">
              <a:sym typeface="Arial" panose="020B0604020202020204" pitchFamily="34" charset="0"/>
            </a:endParaRPr>
          </a:p>
        </p:txBody>
      </p:sp>
      <p:sp>
        <p:nvSpPr>
          <p:cNvPr id="100" name="Marcador de texto 2">
            <a:extLst>
              <a:ext uri="{FF2B5EF4-FFF2-40B4-BE49-F238E27FC236}">
                <a16:creationId xmlns:a16="http://schemas.microsoft.com/office/drawing/2014/main" xmlns="" id="{B8D16371-81AB-4004-BF57-4C8AC27D6027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2922588" y="4394200"/>
            <a:ext cx="3667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E91618-D3A6-48AA-A43D-0F553279B29C}" type="datetime'''''Mix''''''''''''t''''''''''o''''''s'''''''">
              <a:rPr lang="es-CL" altLang="en-US" sz="1000" smtClean="0"/>
              <a:pPr/>
              <a:t>Mixtos</a:t>
            </a:fld>
            <a:endParaRPr lang="es-CL" sz="1000" dirty="0"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245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xmlns="" id="{28B2A7E2-AD6D-4E5B-BF03-7224B090BD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33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Diapositiva de think-cell" r:id="rId47" imgW="421" imgH="423" progId="TCLayout.ActiveDocument.1">
                  <p:embed/>
                </p:oleObj>
              </mc:Choice>
              <mc:Fallback>
                <p:oleObj name="Diapositiva de think-cell" r:id="rId47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xmlns="" id="{28B2A7E2-AD6D-4E5B-BF03-7224B090B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xmlns="" id="{8DEBC2FB-DED4-4C1B-BF7F-9F13683E35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xmlns="" id="{539561C7-97B3-48EE-B265-5C6F81A3F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929"/>
            <a:ext cx="7283860" cy="994479"/>
          </a:xfrm>
        </p:spPr>
        <p:txBody>
          <a:bodyPr>
            <a:normAutofit/>
          </a:bodyPr>
          <a:lstStyle/>
          <a:p>
            <a:r>
              <a:rPr lang="es-CL" sz="2000" b="1" dirty="0">
                <a:solidFill>
                  <a:srgbClr val="FFA300"/>
                </a:solidFill>
              </a:rPr>
              <a:t>RESULTADOS DICIEMBRE 2018</a:t>
            </a:r>
            <a:r>
              <a:rPr lang="es-CL" sz="2000" dirty="0"/>
              <a:t/>
            </a:r>
            <a:br>
              <a:rPr lang="es-CL" sz="2000" dirty="0"/>
            </a:br>
            <a:r>
              <a:rPr lang="es-CL" sz="1200" dirty="0"/>
              <a:t>Moneda concentra la mayor cantidad de activos administrados (25%) distribuidos en 27 fondos, mientras que </a:t>
            </a:r>
            <a:r>
              <a:rPr lang="es-CL" sz="1200" dirty="0" err="1"/>
              <a:t>LarrainVial</a:t>
            </a:r>
            <a:r>
              <a:rPr lang="es-CL" sz="1200" dirty="0"/>
              <a:t> concentra la mayor cantidad de fondos (50) con un 9% del AUM total</a:t>
            </a:r>
            <a:endParaRPr lang="es-CL" sz="2000" dirty="0"/>
          </a:p>
        </p:txBody>
      </p: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xmlns="" id="{C5C5FA73-CD38-40B2-849A-8EE1A65DBD5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54509276"/>
              </p:ext>
            </p:extLst>
          </p:nvPr>
        </p:nvGraphicFramePr>
        <p:xfrm>
          <a:off x="966788" y="1936750"/>
          <a:ext cx="2371725" cy="2341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72" name="Marcador de texto 2">
            <a:extLst>
              <a:ext uri="{FF2B5EF4-FFF2-40B4-BE49-F238E27FC236}">
                <a16:creationId xmlns:a16="http://schemas.microsoft.com/office/drawing/2014/main" xmlns="" id="{42BCC542-7151-4DA9-9C3D-F8F349F8270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168525" y="3929064"/>
            <a:ext cx="2857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15B135-4F7A-47A8-A3BA-6BDF322E9DC0}" type="datetime'''2''''''''''''''''.2''''''''''''''''9''''''''''''''''4'''''''">
              <a:rPr lang="es-CL" altLang="en-US" sz="800" smtClean="0">
                <a:sym typeface="Arial" panose="020B0604020202020204" pitchFamily="34" charset="0"/>
              </a:rPr>
              <a:pPr/>
              <a:t>2.294</a:t>
            </a:fld>
            <a:r>
              <a:rPr lang="es-CL" altLang="en-US" sz="800">
                <a:sym typeface="Arial" panose="020B0604020202020204" pitchFamily="34" charset="0"/>
              </a:rPr>
              <a:t/>
            </a:r>
            <a:br>
              <a:rPr lang="es-CL" altLang="en-US" sz="800">
                <a:sym typeface="Arial" panose="020B0604020202020204" pitchFamily="34" charset="0"/>
              </a:rPr>
            </a:br>
            <a:r>
              <a:rPr lang="es-CL" altLang="en-US" sz="800">
                <a:sym typeface="Arial" panose="020B0604020202020204" pitchFamily="34" charset="0"/>
              </a:rPr>
              <a:t>(</a:t>
            </a:r>
            <a:fld id="{13C00E32-C544-4D21-AAB5-ECE02B88EFF8}" type="datetime'''''''''''8''''''''''''''''''''%'''''''">
              <a:rPr lang="es-CL" altLang="en-US" sz="800" smtClean="0">
                <a:sym typeface="Arial" panose="020B0604020202020204" pitchFamily="34" charset="0"/>
              </a:rPr>
              <a:pPr/>
              <a:t>8%</a:t>
            </a:fld>
            <a:r>
              <a:rPr lang="es-CL" sz="800">
                <a:sym typeface="Arial" panose="020B0604020202020204" pitchFamily="34" charset="0"/>
              </a:rPr>
              <a:t>)</a:t>
            </a:r>
            <a:endParaRPr lang="es-CL" sz="800" dirty="0">
              <a:sym typeface="Arial" panose="020B0604020202020204" pitchFamily="34" charset="0"/>
            </a:endParaRPr>
          </a:p>
        </p:txBody>
      </p:sp>
      <p:sp>
        <p:nvSpPr>
          <p:cNvPr id="64" name="Marcador de texto 2">
            <a:extLst>
              <a:ext uri="{FF2B5EF4-FFF2-40B4-BE49-F238E27FC236}">
                <a16:creationId xmlns:a16="http://schemas.microsoft.com/office/drawing/2014/main" xmlns="" id="{6675BF2E-7613-405A-8560-412D8AC751D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2713" y="3190875"/>
            <a:ext cx="9207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7B8E866-E71C-4886-A4F0-768DBB064EA6}" type="datetime'I''''''''n''d''''''''''''''''''ep''endencia'' ''(''''''3'''')'">
              <a:rPr lang="es-CL" altLang="en-US" sz="900" smtClean="0"/>
              <a:pPr/>
              <a:t>Independencia (3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54" name="Marcador de texto 2">
            <a:extLst>
              <a:ext uri="{FF2B5EF4-FFF2-40B4-BE49-F238E27FC236}">
                <a16:creationId xmlns:a16="http://schemas.microsoft.com/office/drawing/2014/main" xmlns="" id="{94DE5166-62BE-4C7E-BA64-496E7EE0CA7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647950" y="2351089"/>
            <a:ext cx="30003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CA244C-999C-406C-AE02-365AA4456515}" type="datetime'''''6.''''''''8''''2''''''''''6'''''''''''''''''''">
              <a:rPr lang="es-CL" altLang="en-US" sz="800" smtClean="0">
                <a:sym typeface="Arial" panose="020B0604020202020204" pitchFamily="34" charset="0"/>
              </a:rPr>
              <a:pPr/>
              <a:t>6.826</a:t>
            </a:fld>
            <a:r>
              <a:rPr lang="es-CL" altLang="en-US" sz="800">
                <a:sym typeface="Arial" panose="020B0604020202020204" pitchFamily="34" charset="0"/>
              </a:rPr>
              <a:t/>
            </a:r>
            <a:br>
              <a:rPr lang="es-CL" altLang="en-US" sz="800">
                <a:sym typeface="Arial" panose="020B0604020202020204" pitchFamily="34" charset="0"/>
              </a:rPr>
            </a:br>
            <a:r>
              <a:rPr lang="es-CL" altLang="en-US" sz="800">
                <a:sym typeface="Arial" panose="020B0604020202020204" pitchFamily="34" charset="0"/>
              </a:rPr>
              <a:t>(</a:t>
            </a:r>
            <a:fld id="{DC751A66-7EA0-4220-9B6E-D68523F9ECC1}" type="datetime'''''''''2''''''5''''''''''''%'''''''''''''''''''''''''''''''">
              <a:rPr lang="es-CL" altLang="en-US" sz="800" smtClean="0">
                <a:sym typeface="Arial" panose="020B0604020202020204" pitchFamily="34" charset="0"/>
              </a:rPr>
              <a:pPr/>
              <a:t>25%</a:t>
            </a:fld>
            <a:r>
              <a:rPr lang="es-CL" altLang="en-US" sz="800">
                <a:sym typeface="Arial" panose="020B0604020202020204" pitchFamily="34" charset="0"/>
              </a:rPr>
              <a:t>)</a:t>
            </a:r>
            <a:endParaRPr lang="es-CL" sz="800" dirty="0">
              <a:sym typeface="Arial" panose="020B0604020202020204" pitchFamily="34" charset="0"/>
            </a:endParaRPr>
          </a:p>
        </p:txBody>
      </p:sp>
      <p:sp>
        <p:nvSpPr>
          <p:cNvPr id="56" name="Marcador de texto 2">
            <a:extLst>
              <a:ext uri="{FF2B5EF4-FFF2-40B4-BE49-F238E27FC236}">
                <a16:creationId xmlns:a16="http://schemas.microsoft.com/office/drawing/2014/main" xmlns="" id="{BD612418-68C5-4C44-B15A-6161E0BAD51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954338" y="2184400"/>
            <a:ext cx="5842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B270E7C-8039-4D0A-9B49-BEE5EDA2AF8E}" type="datetime'''''''M''''''o''''''''n''''e''''''''''d''a'' (''''''''''1)'">
              <a:rPr lang="es-CL" altLang="en-US" sz="900" smtClean="0"/>
              <a:pPr/>
              <a:t>Moneda (1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57" name="Marcador de texto 2">
            <a:extLst>
              <a:ext uri="{FF2B5EF4-FFF2-40B4-BE49-F238E27FC236}">
                <a16:creationId xmlns:a16="http://schemas.microsoft.com/office/drawing/2014/main" xmlns="" id="{9DC77CBE-C26A-4107-88F7-DE9F8345868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67075" y="3375025"/>
            <a:ext cx="647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0A36D8-E4F0-41E7-A7A7-1D23C1FE317E}" type="datetime'''''''''BTG'''' ''P''''a''''''''''''''c''''t''''''u''a''''l'''">
              <a:rPr lang="es-CL" altLang="en-US" sz="900" smtClean="0"/>
              <a:pPr/>
              <a:t>BTG Pactual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70" name="Marcador de texto 2">
            <a:extLst>
              <a:ext uri="{FF2B5EF4-FFF2-40B4-BE49-F238E27FC236}">
                <a16:creationId xmlns:a16="http://schemas.microsoft.com/office/drawing/2014/main" xmlns="" id="{E3B9AD7A-23A6-4D0E-A422-52F08887938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894013" y="3249614"/>
            <a:ext cx="30003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807ECF-7572-4BA7-BD7C-98DD39D7E0A1}" type="datetime'''''''''''''''''''''2''''''.''''''''7''''''''14'''''''">
              <a:rPr lang="es-CL" altLang="en-US" sz="800" smtClean="0">
                <a:sym typeface="Arial" panose="020B0604020202020204" pitchFamily="34" charset="0"/>
              </a:rPr>
              <a:pPr/>
              <a:t>2.714</a:t>
            </a:fld>
            <a:r>
              <a:rPr lang="es-CL" altLang="en-US" sz="800">
                <a:sym typeface="Arial" panose="020B0604020202020204" pitchFamily="34" charset="0"/>
              </a:rPr>
              <a:t/>
            </a:r>
            <a:br>
              <a:rPr lang="es-CL" altLang="en-US" sz="800">
                <a:sym typeface="Arial" panose="020B0604020202020204" pitchFamily="34" charset="0"/>
              </a:rPr>
            </a:br>
            <a:r>
              <a:rPr lang="es-CL" altLang="en-US" sz="800">
                <a:sym typeface="Arial" panose="020B0604020202020204" pitchFamily="34" charset="0"/>
              </a:rPr>
              <a:t>(</a:t>
            </a:r>
            <a:fld id="{4A4F47B1-ED00-4F12-9E33-C88A5BC8E2B7}" type="datetime'''''''1''''''''''''''0%'''''">
              <a:rPr lang="es-CL" altLang="en-US" sz="800" smtClean="0">
                <a:sym typeface="Arial" panose="020B0604020202020204" pitchFamily="34" charset="0"/>
              </a:rPr>
              <a:pPr/>
              <a:t>10%</a:t>
            </a:fld>
            <a:r>
              <a:rPr lang="es-CL" sz="800">
                <a:sym typeface="Arial" panose="020B0604020202020204" pitchFamily="34" charset="0"/>
              </a:rPr>
              <a:t>)</a:t>
            </a:r>
            <a:endParaRPr lang="es-CL" sz="800" dirty="0">
              <a:sym typeface="Arial" panose="020B0604020202020204" pitchFamily="34" charset="0"/>
            </a:endParaRPr>
          </a:p>
        </p:txBody>
      </p:sp>
      <p:sp>
        <p:nvSpPr>
          <p:cNvPr id="71" name="Marcador de texto 2">
            <a:extLst>
              <a:ext uri="{FF2B5EF4-FFF2-40B4-BE49-F238E27FC236}">
                <a16:creationId xmlns:a16="http://schemas.microsoft.com/office/drawing/2014/main" xmlns="" id="{DD74EC7D-052A-4DFE-95E2-6D74B18E9C4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08263" y="3694114"/>
            <a:ext cx="2857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480FFE-1BD1-4DA9-BB6C-076F839A4730}" type="datetime'2''''.''5''2''''''0'''''''''''''''''''''''''''''''''">
              <a:rPr lang="es-CL" altLang="en-US" sz="800" smtClean="0">
                <a:sym typeface="Arial" panose="020B0604020202020204" pitchFamily="34" charset="0"/>
              </a:rPr>
              <a:pPr/>
              <a:t>2.520</a:t>
            </a:fld>
            <a:r>
              <a:rPr lang="es-CL" altLang="en-US" sz="800">
                <a:sym typeface="Arial" panose="020B0604020202020204" pitchFamily="34" charset="0"/>
              </a:rPr>
              <a:t/>
            </a:r>
            <a:br>
              <a:rPr lang="es-CL" altLang="en-US" sz="800">
                <a:sym typeface="Arial" panose="020B0604020202020204" pitchFamily="34" charset="0"/>
              </a:rPr>
            </a:br>
            <a:r>
              <a:rPr lang="es-CL" altLang="en-US" sz="800">
                <a:sym typeface="Arial" panose="020B0604020202020204" pitchFamily="34" charset="0"/>
              </a:rPr>
              <a:t>(</a:t>
            </a:r>
            <a:fld id="{F32C0765-02E1-46F4-A9BE-962C7E8421E1}" type="datetime'''9''''''''''''''''''''''''''''''''''''''''''''''''''''%'''''">
              <a:rPr lang="es-CL" altLang="en-US" sz="800" smtClean="0">
                <a:sym typeface="Arial" panose="020B0604020202020204" pitchFamily="34" charset="0"/>
              </a:rPr>
              <a:pPr/>
              <a:t>9%</a:t>
            </a:fld>
            <a:r>
              <a:rPr lang="es-CL" sz="800">
                <a:sym typeface="Arial" panose="020B0604020202020204" pitchFamily="34" charset="0"/>
              </a:rPr>
              <a:t>)</a:t>
            </a:r>
            <a:endParaRPr lang="es-CL" sz="800" dirty="0">
              <a:sym typeface="Arial" panose="020B0604020202020204" pitchFamily="34" charset="0"/>
            </a:endParaRPr>
          </a:p>
        </p:txBody>
      </p:sp>
      <p:sp>
        <p:nvSpPr>
          <p:cNvPr id="73" name="Marcador de texto 2">
            <a:extLst>
              <a:ext uri="{FF2B5EF4-FFF2-40B4-BE49-F238E27FC236}">
                <a16:creationId xmlns:a16="http://schemas.microsoft.com/office/drawing/2014/main" xmlns="" id="{A55E66D9-DDED-4DD4-98A1-1D8F9FC753F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727200" y="3876676"/>
            <a:ext cx="2857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BD184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2542EB-5406-4F8E-9CF8-AFF4C052839A}" type="datetime'''''''1.''''''''''''''''9''''''''''''3''''''''7'''''''''''''''">
              <a:rPr lang="es-CL" altLang="en-US" sz="800" smtClean="0">
                <a:sym typeface="Arial" panose="020B0604020202020204" pitchFamily="34" charset="0"/>
              </a:rPr>
              <a:pPr/>
              <a:t>1.937</a:t>
            </a:fld>
            <a:r>
              <a:rPr lang="es-CL" altLang="en-US" sz="800">
                <a:sym typeface="Arial" panose="020B0604020202020204" pitchFamily="34" charset="0"/>
              </a:rPr>
              <a:t/>
            </a:r>
            <a:br>
              <a:rPr lang="es-CL" altLang="en-US" sz="800">
                <a:sym typeface="Arial" panose="020B0604020202020204" pitchFamily="34" charset="0"/>
              </a:rPr>
            </a:br>
            <a:r>
              <a:rPr lang="es-CL" altLang="en-US" sz="800">
                <a:sym typeface="Arial" panose="020B0604020202020204" pitchFamily="34" charset="0"/>
              </a:rPr>
              <a:t>(</a:t>
            </a:r>
            <a:fld id="{F5E6A117-52BD-41A2-B07A-1114FD0C7B9D}" type="datetime'''7''''''''''''''''''''''''%'''''''''''''''''''''">
              <a:rPr lang="es-CL" altLang="en-US" sz="800" smtClean="0">
                <a:sym typeface="Arial" panose="020B0604020202020204" pitchFamily="34" charset="0"/>
              </a:rPr>
              <a:pPr/>
              <a:t>7%</a:t>
            </a:fld>
            <a:r>
              <a:rPr lang="es-CL" sz="800">
                <a:sym typeface="Arial" panose="020B0604020202020204" pitchFamily="34" charset="0"/>
              </a:rPr>
              <a:t>)</a:t>
            </a:r>
            <a:endParaRPr lang="es-CL" sz="800" dirty="0">
              <a:sym typeface="Arial" panose="020B0604020202020204" pitchFamily="34" charset="0"/>
            </a:endParaRPr>
          </a:p>
        </p:txBody>
      </p:sp>
      <p:sp>
        <p:nvSpPr>
          <p:cNvPr id="59" name="Marcador de texto 2">
            <a:extLst>
              <a:ext uri="{FF2B5EF4-FFF2-40B4-BE49-F238E27FC236}">
                <a16:creationId xmlns:a16="http://schemas.microsoft.com/office/drawing/2014/main" xmlns="" id="{6BBE6643-75E6-4A1E-A8E2-EB9AE5D4C95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286000" y="4214813"/>
            <a:ext cx="831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D65206-ADDA-44BC-A6C0-ED1710C910DF}" type="datetime'C''o''m''''''p''''a''''s''''''''s'''' ''G''r''o''''''''u''''p'">
              <a:rPr lang="es-CL" altLang="en-US" sz="900" smtClean="0"/>
              <a:pPr/>
              <a:t>Compass Group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61" name="Marcador de texto 2">
            <a:extLst>
              <a:ext uri="{FF2B5EF4-FFF2-40B4-BE49-F238E27FC236}">
                <a16:creationId xmlns:a16="http://schemas.microsoft.com/office/drawing/2014/main" xmlns="" id="{4B0CFBE6-E07E-4E33-BAA0-821C0D2AE68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239838" y="3960813"/>
            <a:ext cx="2032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BED13D-BD33-41B5-B1E5-2DE82D670FA8}" type="datetime'''''''''''''''''''''''''''MB''''''''''''''''''''''''''''''I'''">
              <a:rPr lang="es-CL" altLang="en-US" sz="9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BI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58" name="Marcador de texto 2">
            <a:extLst>
              <a:ext uri="{FF2B5EF4-FFF2-40B4-BE49-F238E27FC236}">
                <a16:creationId xmlns:a16="http://schemas.microsoft.com/office/drawing/2014/main" xmlns="" id="{9258FCC8-F670-45AE-915F-1F7627D3347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881313" y="3965575"/>
            <a:ext cx="7493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1A31CC-078E-47EA-B640-F76CA1F068F0}" type="datetime'''''La''rr''a''''''''in'' V''''ia''''l ''''''''(2)'''''''">
              <a:rPr lang="es-CL" altLang="en-US" sz="900" smtClean="0"/>
              <a:pPr/>
              <a:t>Larrain Vial (2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60" name="Marcador de texto 2">
            <a:extLst>
              <a:ext uri="{FF2B5EF4-FFF2-40B4-BE49-F238E27FC236}">
                <a16:creationId xmlns:a16="http://schemas.microsoft.com/office/drawing/2014/main" xmlns="" id="{36D035F6-4E25-4B91-A712-0BDFC8E328A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09700" y="4175125"/>
            <a:ext cx="4381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46FCD8-1EBA-4906-96F7-80FC72E647B7}" type="datetime'''''B''''a''''n''''''''''''''''''chi''''''''''l''e'''''">
              <a:rPr lang="es-CL" altLang="en-US" sz="9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anchile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75" name="Marcador de texto 2">
            <a:extLst>
              <a:ext uri="{FF2B5EF4-FFF2-40B4-BE49-F238E27FC236}">
                <a16:creationId xmlns:a16="http://schemas.microsoft.com/office/drawing/2014/main" xmlns="" id="{2091EFC9-C342-4D33-A7D5-D1FEE8B2441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435100" y="3690939"/>
            <a:ext cx="285750" cy="219075"/>
          </a:xfrm>
          <a:prstGeom prst="rect">
            <a:avLst/>
          </a:prstGeom>
          <a:solidFill>
            <a:srgbClr val="F8B131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0138FB-0A7F-431B-8EA5-1D5F50872E1A}" type="datetime'''''''''''''''1''''''''''''''''''''''.''''''''''''''''''414'''">
              <a:rPr lang="es-CL" altLang="en-US" sz="800" smtClean="0">
                <a:sym typeface="Arial" panose="020B0604020202020204" pitchFamily="34" charset="0"/>
              </a:rPr>
              <a:pPr/>
              <a:t>1.414</a:t>
            </a:fld>
            <a:r>
              <a:rPr lang="es-CL" altLang="en-US" sz="800">
                <a:sym typeface="Arial" panose="020B0604020202020204" pitchFamily="34" charset="0"/>
              </a:rPr>
              <a:t/>
            </a:r>
            <a:br>
              <a:rPr lang="es-CL" altLang="en-US" sz="800">
                <a:sym typeface="Arial" panose="020B0604020202020204" pitchFamily="34" charset="0"/>
              </a:rPr>
            </a:br>
            <a:r>
              <a:rPr lang="es-CL" altLang="en-US" sz="800">
                <a:sym typeface="Arial" panose="020B0604020202020204" pitchFamily="34" charset="0"/>
              </a:rPr>
              <a:t>(</a:t>
            </a:r>
            <a:fld id="{2FCB96BB-974E-4CAE-9D04-0C0E02C08817}" type="datetime'''''''''''''''''''''''''''''''''''''''''''5%'''''">
              <a:rPr lang="es-CL" altLang="en-US" sz="800" smtClean="0">
                <a:sym typeface="Arial" panose="020B0604020202020204" pitchFamily="34" charset="0"/>
              </a:rPr>
              <a:pPr/>
              <a:t>5%</a:t>
            </a:fld>
            <a:r>
              <a:rPr lang="es-CL" sz="800">
                <a:sym typeface="Arial" panose="020B0604020202020204" pitchFamily="34" charset="0"/>
              </a:rPr>
              <a:t>)</a:t>
            </a:r>
            <a:endParaRPr lang="es-CL" sz="800" dirty="0">
              <a:sym typeface="Arial" panose="020B0604020202020204" pitchFamily="34" charset="0"/>
            </a:endParaRPr>
          </a:p>
        </p:txBody>
      </p:sp>
      <p:sp>
        <p:nvSpPr>
          <p:cNvPr id="62" name="Marcador de texto 2">
            <a:extLst>
              <a:ext uri="{FF2B5EF4-FFF2-40B4-BE49-F238E27FC236}">
                <a16:creationId xmlns:a16="http://schemas.microsoft.com/office/drawing/2014/main" xmlns="" id="{869C25A5-B7FE-4D91-AF76-E14CD365C43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17550" y="3697288"/>
            <a:ext cx="4953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166C82-04F4-460B-906C-8E89E55D411E}" type="datetime'''''''C''''''''''''redi''''co''''''''r''''''''''''p'''">
              <a:rPr lang="es-CL" altLang="en-US" sz="9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redicorp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65" name="Marcador de texto 2">
            <a:extLst>
              <a:ext uri="{FF2B5EF4-FFF2-40B4-BE49-F238E27FC236}">
                <a16:creationId xmlns:a16="http://schemas.microsoft.com/office/drawing/2014/main" xmlns="" id="{7E971FE6-75C3-43F0-9262-33077F86547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25525" y="2105025"/>
            <a:ext cx="450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7EF9DE-D3CC-497F-B4AA-85EA2E830513}" type="datetime'''''''''''O''''t''''''r''''o''s'' ''''(''''''4'''''')'''''''''">
              <a:rPr lang="es-CL" altLang="en-US" sz="900" smtClean="0"/>
              <a:pPr/>
              <a:t>Otros (4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63" name="Marcador de texto 2">
            <a:extLst>
              <a:ext uri="{FF2B5EF4-FFF2-40B4-BE49-F238E27FC236}">
                <a16:creationId xmlns:a16="http://schemas.microsoft.com/office/drawing/2014/main" xmlns="" id="{EF737D8D-3101-4A3A-AB64-449A9EFEF57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46063" y="3433763"/>
            <a:ext cx="8382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992259F-887D-43D7-924F-276E679F273C}" type="datetime'B''i''c''''''''''''e'''''' Inv''e''''''r''''si''on''e''''''s'">
              <a:rPr lang="es-CL" altLang="en-US" sz="9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ice Inversiones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36" name="Marcador de texto 2">
            <a:extLst>
              <a:ext uri="{FF2B5EF4-FFF2-40B4-BE49-F238E27FC236}">
                <a16:creationId xmlns:a16="http://schemas.microsoft.com/office/drawing/2014/main" xmlns="" id="{32AD7086-ED37-4FE7-B97F-DF4C20207FC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454150" y="2287589"/>
            <a:ext cx="300038" cy="219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EBB569-5CBD-4416-840D-D52F3A1C0FED}" type="datetime'''''''5''''.''''''''''''9''''''3''''6'''''''''''''''''''''''">
              <a:rPr lang="es-CL" altLang="en-US" sz="800" smtClean="0">
                <a:sym typeface="Arial" panose="020B0604020202020204" pitchFamily="34" charset="0"/>
              </a:rPr>
              <a:pPr/>
              <a:t>5.936</a:t>
            </a:fld>
            <a:r>
              <a:rPr lang="es-CL" altLang="en-US" sz="800">
                <a:sym typeface="Arial" panose="020B0604020202020204" pitchFamily="34" charset="0"/>
              </a:rPr>
              <a:t/>
            </a:r>
            <a:br>
              <a:rPr lang="es-CL" altLang="en-US" sz="800">
                <a:sym typeface="Arial" panose="020B0604020202020204" pitchFamily="34" charset="0"/>
              </a:rPr>
            </a:br>
            <a:r>
              <a:rPr lang="es-CL" altLang="en-US" sz="800">
                <a:sym typeface="Arial" panose="020B0604020202020204" pitchFamily="34" charset="0"/>
              </a:rPr>
              <a:t>(</a:t>
            </a:r>
            <a:fld id="{36090D9F-8318-4216-911C-C557B1ED8AC3}" type="datetime'''''''''''2''''''''''''1''''''%'''''''''''''''''''''''">
              <a:rPr lang="es-CL" altLang="en-US" sz="800" smtClean="0">
                <a:sym typeface="Arial" panose="020B0604020202020204" pitchFamily="34" charset="0"/>
              </a:rPr>
              <a:pPr/>
              <a:t>21%</a:t>
            </a:fld>
            <a:r>
              <a:rPr lang="es-CL" altLang="en-US" sz="800">
                <a:sym typeface="Arial" panose="020B0604020202020204" pitchFamily="34" charset="0"/>
              </a:rPr>
              <a:t>)</a:t>
            </a:r>
            <a:endParaRPr lang="es-CL" sz="800" dirty="0">
              <a:sym typeface="Arial" panose="020B0604020202020204" pitchFamily="34" charset="0"/>
            </a:endParaRP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xmlns="" id="{200D974E-C75E-407E-B949-19C91C283AE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52463" y="2994025"/>
            <a:ext cx="3746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10C5836-114E-453F-8294-92D86ECB12B0}" type="datetime'''T''''''''''''''o''''e''''''sc''''''a'''''''''''">
              <a:rPr lang="es-CL" altLang="en-US" sz="900" smtClean="0"/>
              <a:pPr/>
              <a:t>Toesca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27" name="Marcador de texto 2">
            <a:extLst>
              <a:ext uri="{FF2B5EF4-FFF2-40B4-BE49-F238E27FC236}">
                <a16:creationId xmlns:a16="http://schemas.microsoft.com/office/drawing/2014/main" xmlns="" id="{88E05180-AE0A-4CF7-961A-C51D88FB009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55600" y="2851150"/>
            <a:ext cx="6794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C8E9B8-1AA0-4218-BF5D-919570526B67}" type="datetime'Nevas''''''a'''''''' ''''''H''''''''M''''''''''''''''C'''''''">
              <a:rPr lang="es-CL" altLang="en-US" sz="900" smtClean="0"/>
              <a:pPr/>
              <a:t>Nevasa HMC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xmlns="" id="{8F412732-A2CB-44C1-8A7D-DFFF3411ED42}"/>
              </a:ext>
            </a:extLst>
          </p:cNvPr>
          <p:cNvSpPr txBox="1"/>
          <p:nvPr/>
        </p:nvSpPr>
        <p:spPr>
          <a:xfrm>
            <a:off x="268288" y="1296630"/>
            <a:ext cx="407828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Total Activos Administrados por AGF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AUM MUS$, %)</a:t>
            </a: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xmlns="" id="{485D986A-81C5-40F9-AD45-23A7EEB74911}"/>
              </a:ext>
            </a:extLst>
          </p:cNvPr>
          <p:cNvSpPr txBox="1"/>
          <p:nvPr/>
        </p:nvSpPr>
        <p:spPr>
          <a:xfrm>
            <a:off x="103239" y="4497236"/>
            <a:ext cx="644161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Both"/>
            </a:pPr>
            <a:r>
              <a:rPr lang="es-CL" sz="700" dirty="0"/>
              <a:t>Moneda incluye </a:t>
            </a:r>
            <a:r>
              <a:rPr lang="es-CL" sz="700" dirty="0" err="1"/>
              <a:t>Chiletech</a:t>
            </a:r>
            <a:endParaRPr lang="es-CL" sz="700" dirty="0"/>
          </a:p>
          <a:p>
            <a:pPr marL="342900" indent="-342900">
              <a:buAutoNum type="arabicParenBoth"/>
            </a:pPr>
            <a:r>
              <a:rPr lang="es-CL" sz="700" dirty="0" err="1"/>
              <a:t>LarrainVial</a:t>
            </a:r>
            <a:r>
              <a:rPr lang="es-CL" sz="700" dirty="0"/>
              <a:t> incluye </a:t>
            </a:r>
            <a:r>
              <a:rPr lang="es-CL" sz="700" dirty="0" err="1"/>
              <a:t>LarrainVial</a:t>
            </a:r>
            <a:r>
              <a:rPr lang="es-CL" sz="700" dirty="0"/>
              <a:t> Activos y </a:t>
            </a:r>
            <a:r>
              <a:rPr lang="es-CL" sz="700" dirty="0" err="1"/>
              <a:t>LarrainVial</a:t>
            </a:r>
            <a:r>
              <a:rPr lang="es-CL" sz="700" dirty="0"/>
              <a:t> AGF</a:t>
            </a:r>
          </a:p>
          <a:p>
            <a:pPr marL="342900" indent="-342900">
              <a:buAutoNum type="arabicParenBoth"/>
            </a:pPr>
            <a:r>
              <a:rPr lang="es-CL" sz="700" dirty="0"/>
              <a:t>Independencia incluye Independencia Internacional</a:t>
            </a:r>
          </a:p>
          <a:p>
            <a:pPr marL="342900" indent="-342900">
              <a:buAutoNum type="arabicParenBoth"/>
            </a:pPr>
            <a:r>
              <a:rPr lang="es-CL" sz="700" dirty="0"/>
              <a:t>Otros:  Volcom, </a:t>
            </a:r>
            <a:r>
              <a:rPr lang="es-CL" sz="700" dirty="0" err="1"/>
              <a:t>Picton</a:t>
            </a:r>
            <a:r>
              <a:rPr lang="es-CL" sz="700" dirty="0"/>
              <a:t>, Security, </a:t>
            </a:r>
            <a:r>
              <a:rPr lang="es-CL" sz="700" dirty="0" err="1"/>
              <a:t>Ameris</a:t>
            </a:r>
            <a:r>
              <a:rPr lang="es-CL" sz="700" dirty="0"/>
              <a:t> Capital, Cimenta, Santander, Capital </a:t>
            </a:r>
            <a:r>
              <a:rPr lang="es-CL" sz="700" dirty="0" err="1"/>
              <a:t>Advisors</a:t>
            </a:r>
            <a:r>
              <a:rPr lang="es-CL" sz="700" dirty="0"/>
              <a:t>, BCI, CMB-Prime, </a:t>
            </a:r>
            <a:r>
              <a:rPr lang="es-CL" sz="700" dirty="0" err="1"/>
              <a:t>Falcom</a:t>
            </a:r>
            <a:r>
              <a:rPr lang="es-CL" sz="700" dirty="0"/>
              <a:t>, </a:t>
            </a:r>
            <a:r>
              <a:rPr lang="es-CL" sz="700" dirty="0" err="1"/>
              <a:t>Euroamérica</a:t>
            </a:r>
            <a:r>
              <a:rPr lang="es-CL" sz="700" dirty="0"/>
              <a:t>, </a:t>
            </a:r>
            <a:r>
              <a:rPr lang="es-CL" sz="700" dirty="0" err="1"/>
              <a:t>Asset</a:t>
            </a:r>
            <a:r>
              <a:rPr lang="es-CL" sz="700" dirty="0"/>
              <a:t>, </a:t>
            </a:r>
            <a:r>
              <a:rPr lang="es-CL" sz="700" dirty="0" err="1"/>
              <a:t>Vision</a:t>
            </a:r>
            <a:r>
              <a:rPr lang="es-CL" sz="700" dirty="0"/>
              <a:t> </a:t>
            </a:r>
            <a:r>
              <a:rPr lang="es-CL" sz="700" dirty="0" err="1"/>
              <a:t>Advisors</a:t>
            </a:r>
            <a:r>
              <a:rPr lang="es-CL" sz="700" dirty="0"/>
              <a:t>, </a:t>
            </a:r>
            <a:r>
              <a:rPr lang="es-CL" sz="700" dirty="0" err="1"/>
              <a:t>Econsult</a:t>
            </a:r>
            <a:r>
              <a:rPr lang="es-CL" sz="700" dirty="0"/>
              <a:t>, </a:t>
            </a:r>
            <a:r>
              <a:rPr lang="es-CL" sz="700" dirty="0" err="1"/>
              <a:t>Sartor</a:t>
            </a:r>
            <a:r>
              <a:rPr lang="es-CL" sz="700" dirty="0"/>
              <a:t>, </a:t>
            </a:r>
            <a:r>
              <a:rPr lang="es-CL" sz="700" dirty="0" err="1"/>
              <a:t>Fynsa</a:t>
            </a:r>
            <a:r>
              <a:rPr lang="es-CL" sz="700" dirty="0"/>
              <a:t>, Altamar, Sura, </a:t>
            </a:r>
            <a:r>
              <a:rPr lang="es-CL" sz="700" dirty="0" err="1"/>
              <a:t>Neorentas</a:t>
            </a:r>
            <a:r>
              <a:rPr lang="es-CL" sz="700" dirty="0"/>
              <a:t>, Principal, Frontal Trust, Penta Las Américas, WEG, Ecus, </a:t>
            </a:r>
            <a:r>
              <a:rPr lang="es-CL" sz="700" dirty="0" err="1"/>
              <a:t>Tanner</a:t>
            </a:r>
            <a:r>
              <a:rPr lang="es-CL" sz="700" dirty="0"/>
              <a:t>, XLC, </a:t>
            </a:r>
            <a:r>
              <a:rPr lang="es-CL" sz="700" dirty="0" err="1"/>
              <a:t>Altis</a:t>
            </a:r>
            <a:r>
              <a:rPr lang="es-CL" sz="700" dirty="0"/>
              <a:t>, </a:t>
            </a:r>
            <a:r>
              <a:rPr lang="es-CL" sz="700" dirty="0" err="1"/>
              <a:t>Itau</a:t>
            </a:r>
            <a:r>
              <a:rPr lang="es-CL" sz="700" dirty="0"/>
              <a:t>, </a:t>
            </a:r>
            <a:r>
              <a:rPr lang="es-CL" sz="700" dirty="0" err="1"/>
              <a:t>Quest</a:t>
            </a:r>
            <a:r>
              <a:rPr lang="es-CL" sz="700" dirty="0"/>
              <a:t> y Sura.</a:t>
            </a:r>
          </a:p>
        </p:txBody>
      </p:sp>
      <p:graphicFrame>
        <p:nvGraphicFramePr>
          <p:cNvPr id="116" name="Chart 3">
            <a:extLst>
              <a:ext uri="{FF2B5EF4-FFF2-40B4-BE49-F238E27FC236}">
                <a16:creationId xmlns:a16="http://schemas.microsoft.com/office/drawing/2014/main" xmlns="" id="{92078B58-EEF5-4FE2-8328-BAE78984320D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823326938"/>
              </p:ext>
            </p:extLst>
          </p:nvPr>
        </p:nvGraphicFramePr>
        <p:xfrm>
          <a:off x="5551488" y="1936750"/>
          <a:ext cx="2341562" cy="2341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45" name="Marcador de texto 2">
            <a:extLst>
              <a:ext uri="{FF2B5EF4-FFF2-40B4-BE49-F238E27FC236}">
                <a16:creationId xmlns:a16="http://schemas.microsoft.com/office/drawing/2014/main" xmlns="" id="{309517E2-4941-436A-BF72-42DC4AD7DD1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689850" y="2403475"/>
            <a:ext cx="831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11D237-1F3F-4E97-B393-0ABDC78AD6D6}" type="datetime'''''Com''''''''p''''''''as''s ''''''G''''r''''o''up'''''">
              <a:rPr lang="es-CL" altLang="en-US" sz="900" smtClean="0"/>
              <a:pPr/>
              <a:t>Compass Group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108" name="Marcador de texto 2">
            <a:extLst>
              <a:ext uri="{FF2B5EF4-FFF2-40B4-BE49-F238E27FC236}">
                <a16:creationId xmlns:a16="http://schemas.microsoft.com/office/drawing/2014/main" xmlns="" id="{1BADB43B-3AB3-48C6-AEEF-29921FC4C73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83400" y="2144713"/>
            <a:ext cx="3365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88E732-E4D0-4463-8A97-C437A582DEDA}" type="datetime'''''''''5''''''''''''''''''''''''''''''''''''''''0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r>
              <a:rPr lang="es-CL" altLang="en-US" sz="900">
                <a:sym typeface="Arial" panose="020B0604020202020204" pitchFamily="34" charset="0"/>
              </a:rPr>
              <a:t/>
            </a:r>
            <a:br>
              <a:rPr lang="es-CL" altLang="en-US" sz="900">
                <a:sym typeface="Arial" panose="020B0604020202020204" pitchFamily="34" charset="0"/>
              </a:rPr>
            </a:br>
            <a:r>
              <a:rPr lang="es-CL" altLang="en-US" sz="900">
                <a:sym typeface="Arial" panose="020B0604020202020204" pitchFamily="34" charset="0"/>
              </a:rPr>
              <a:t>(</a:t>
            </a:r>
            <a:fld id="{8AA1D1D1-038D-426E-9F1D-3F87D03AF5F7}" type="datetime'''''''''''''''''''''''''''''''''''''''1''2''''''''%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es-CL" sz="900">
                <a:sym typeface="Arial" panose="020B0604020202020204" pitchFamily="34" charset="0"/>
              </a:rPr>
              <a:t>)</a:t>
            </a:r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98" name="Marcador de texto 2">
            <a:extLst>
              <a:ext uri="{FF2B5EF4-FFF2-40B4-BE49-F238E27FC236}">
                <a16:creationId xmlns:a16="http://schemas.microsoft.com/office/drawing/2014/main" xmlns="" id="{E67D693D-7A34-40DA-98A2-E3F1797FF9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856538" y="2938463"/>
            <a:ext cx="4953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CE47139-71CC-4DD1-A3C8-5653ACB2C860}" type="datetime'''''Cr''ed''''''''''''''''i''c''''''''''''''''''''or''''p'''">
              <a:rPr lang="es-CL" altLang="en-US" sz="900" smtClean="0"/>
              <a:pPr/>
              <a:t>Credicorp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3" name="Marcador de texto 2">
            <a:extLst>
              <a:ext uri="{FF2B5EF4-FFF2-40B4-BE49-F238E27FC236}">
                <a16:creationId xmlns:a16="http://schemas.microsoft.com/office/drawing/2014/main" xmlns="" id="{2CE04D52-382A-4BF9-9DD3-B2B3D8AE5F3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097713" y="1933575"/>
            <a:ext cx="7493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D531E4-104D-48B9-88B7-65AF2F11D9B3}" type="datetime'''''L''a''''rra''''''in ''''Vi''al ''''(''''''2'''')'''">
              <a:rPr lang="es-CL" altLang="en-US" sz="900" smtClean="0"/>
              <a:pPr/>
              <a:t>Larrain Vial (2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95" name="Marcador de texto 2">
            <a:extLst>
              <a:ext uri="{FF2B5EF4-FFF2-40B4-BE49-F238E27FC236}">
                <a16:creationId xmlns:a16="http://schemas.microsoft.com/office/drawing/2014/main" xmlns="" id="{D092AEEF-1498-43A4-B9C9-20F0B9C3973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23000" y="3870325"/>
            <a:ext cx="196850" cy="123825"/>
          </a:xfrm>
          <a:prstGeom prst="rect">
            <a:avLst/>
          </a:prstGeom>
          <a:solidFill>
            <a:srgbClr val="F5B78D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9FC3B4-F405-4FD0-9263-55AE71AB3F43}" type="datetime'''''''''''''2''''%''''''''''''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111" name="Marcador de texto 2">
            <a:extLst>
              <a:ext uri="{FF2B5EF4-FFF2-40B4-BE49-F238E27FC236}">
                <a16:creationId xmlns:a16="http://schemas.microsoft.com/office/drawing/2014/main" xmlns="" id="{68B132C1-D323-4CDF-96C5-C2875B35C00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451725" y="3287713"/>
            <a:ext cx="273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F75824-8427-485E-8B9E-6C237AA27B51}" type="datetime'''''''''''2''''''''''''''''''''8''''''''''''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</a:t>
            </a:fld>
            <a:r>
              <a:rPr lang="es-CL" altLang="en-US" sz="900">
                <a:sym typeface="Arial" panose="020B0604020202020204" pitchFamily="34" charset="0"/>
              </a:rPr>
              <a:t/>
            </a:r>
            <a:br>
              <a:rPr lang="es-CL" altLang="en-US" sz="900">
                <a:sym typeface="Arial" panose="020B0604020202020204" pitchFamily="34" charset="0"/>
              </a:rPr>
            </a:br>
            <a:r>
              <a:rPr lang="es-CL" altLang="en-US" sz="900">
                <a:sym typeface="Arial" panose="020B0604020202020204" pitchFamily="34" charset="0"/>
              </a:rPr>
              <a:t>(</a:t>
            </a:r>
            <a:fld id="{74D279EB-CC84-4B54-87DE-5EEC564DAEC2}" type="datetime'''''''''''''''''''''''''''''''''7''''''''%''''''''''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r>
              <a:rPr lang="es-CL" sz="900">
                <a:sym typeface="Arial" panose="020B0604020202020204" pitchFamily="34" charset="0"/>
              </a:rPr>
              <a:t>)</a:t>
            </a:r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109" name="Marcador de texto 2">
            <a:extLst>
              <a:ext uri="{FF2B5EF4-FFF2-40B4-BE49-F238E27FC236}">
                <a16:creationId xmlns:a16="http://schemas.microsoft.com/office/drawing/2014/main" xmlns="" id="{519B6A75-8CC2-43DE-AF0F-858C34959FF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351713" y="2498725"/>
            <a:ext cx="273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B1B90B-05CE-42D4-BAF5-A55710EDC7CA}" type="datetime'3''''''''''''''''4''''''''''''''''''''''''''''''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r>
              <a:rPr lang="es-CL" altLang="en-US" sz="900">
                <a:sym typeface="Arial" panose="020B0604020202020204" pitchFamily="34" charset="0"/>
              </a:rPr>
              <a:t/>
            </a:r>
            <a:br>
              <a:rPr lang="es-CL" altLang="en-US" sz="900">
                <a:sym typeface="Arial" panose="020B0604020202020204" pitchFamily="34" charset="0"/>
              </a:rPr>
            </a:br>
            <a:r>
              <a:rPr lang="es-CL" altLang="en-US" sz="900">
                <a:sym typeface="Arial" panose="020B0604020202020204" pitchFamily="34" charset="0"/>
              </a:rPr>
              <a:t>(</a:t>
            </a:r>
            <a:fld id="{2877EEAE-EBBA-4271-96EE-F42AD83A6038}" type="datetime'''''''''''''''''''''''''''8%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r>
              <a:rPr lang="es-CL" sz="900">
                <a:sym typeface="Arial" panose="020B0604020202020204" pitchFamily="34" charset="0"/>
              </a:rPr>
              <a:t>)</a:t>
            </a:r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110" name="Marcador de texto 2">
            <a:extLst>
              <a:ext uri="{FF2B5EF4-FFF2-40B4-BE49-F238E27FC236}">
                <a16:creationId xmlns:a16="http://schemas.microsoft.com/office/drawing/2014/main" xmlns="" id="{2A2C1EE5-78E6-49E2-8BE0-C5804BA9D71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519988" y="2898775"/>
            <a:ext cx="273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962F9E-6A78-4713-BC07-256195E19727}" type="datetime'''''''''''''''''''''''''''''''''''''''''''2''''''''''9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r>
              <a:rPr lang="es-CL" altLang="en-US" sz="900">
                <a:sym typeface="Arial" panose="020B0604020202020204" pitchFamily="34" charset="0"/>
              </a:rPr>
              <a:t/>
            </a:r>
            <a:br>
              <a:rPr lang="es-CL" altLang="en-US" sz="900">
                <a:sym typeface="Arial" panose="020B0604020202020204" pitchFamily="34" charset="0"/>
              </a:rPr>
            </a:br>
            <a:r>
              <a:rPr lang="es-CL" altLang="en-US" sz="900">
                <a:sym typeface="Arial" panose="020B0604020202020204" pitchFamily="34" charset="0"/>
              </a:rPr>
              <a:t>(</a:t>
            </a:r>
            <a:fld id="{641E80D9-1707-4D45-916C-2FE2F8AC838E}" type="datetime'''''''''''''''''''''''7''''''''''''''''''''''''%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r>
              <a:rPr lang="es-CL" sz="900">
                <a:sym typeface="Arial" panose="020B0604020202020204" pitchFamily="34" charset="0"/>
              </a:rPr>
              <a:t>)</a:t>
            </a:r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4" name="Marcador de texto 2">
            <a:extLst>
              <a:ext uri="{FF2B5EF4-FFF2-40B4-BE49-F238E27FC236}">
                <a16:creationId xmlns:a16="http://schemas.microsoft.com/office/drawing/2014/main" xmlns="" id="{45196F76-9415-4478-B7A1-457ABF39FEB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805738" y="3440113"/>
            <a:ext cx="4381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0DA729-B4CD-4952-AA60-C426E16390AF}" type="datetime'''''''B''''''''''''''''a''''''''''''n''''''ch''''i''le'''''">
              <a:rPr lang="es-CL" altLang="en-US" sz="9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nchile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112" name="Marcador de texto 2">
            <a:extLst>
              <a:ext uri="{FF2B5EF4-FFF2-40B4-BE49-F238E27FC236}">
                <a16:creationId xmlns:a16="http://schemas.microsoft.com/office/drawing/2014/main" xmlns="" id="{06387FF3-EDE6-472B-AC82-D332B2394B9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245350" y="3600450"/>
            <a:ext cx="273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F79301-DA10-4519-A362-63685E1F55D0}" type="datetime'''''''''''''2''''''7''''''''''''''''''''''''''''''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</a:t>
            </a:fld>
            <a:r>
              <a:rPr lang="es-CL" altLang="en-US" sz="900">
                <a:sym typeface="Arial" panose="020B0604020202020204" pitchFamily="34" charset="0"/>
              </a:rPr>
              <a:t/>
            </a:r>
            <a:br>
              <a:rPr lang="es-CL" altLang="en-US" sz="900">
                <a:sym typeface="Arial" panose="020B0604020202020204" pitchFamily="34" charset="0"/>
              </a:rPr>
            </a:br>
            <a:r>
              <a:rPr lang="es-CL" altLang="en-US" sz="900">
                <a:sym typeface="Arial" panose="020B0604020202020204" pitchFamily="34" charset="0"/>
              </a:rPr>
              <a:t>(</a:t>
            </a:r>
            <a:fld id="{1D4E4503-695F-40C1-BEFE-B49DE40B246A}" type="datetime'''''''''''''6''''''''%''''''''''''''''''''''''''''''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r>
              <a:rPr lang="es-CL" sz="900">
                <a:sym typeface="Arial" panose="020B0604020202020204" pitchFamily="34" charset="0"/>
              </a:rPr>
              <a:t>)</a:t>
            </a:r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0" name="Marcador de texto 2">
            <a:extLst>
              <a:ext uri="{FF2B5EF4-FFF2-40B4-BE49-F238E27FC236}">
                <a16:creationId xmlns:a16="http://schemas.microsoft.com/office/drawing/2014/main" xmlns="" id="{BAE6E149-5D40-4F2E-AC76-E68CA7108EE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550150" y="3865563"/>
            <a:ext cx="5842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ACF05E-0148-430B-A033-AF2D5AA08DFA}" type="datetime'''Mo''''''''n''''''''''''''''''''e''''''''''d''''a ''(1'')'''">
              <a:rPr lang="es-CL" altLang="en-US" sz="900" smtClean="0"/>
              <a:pPr/>
              <a:t>Moneda (1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113" name="Marcador de texto 2">
            <a:extLst>
              <a:ext uri="{FF2B5EF4-FFF2-40B4-BE49-F238E27FC236}">
                <a16:creationId xmlns:a16="http://schemas.microsoft.com/office/drawing/2014/main" xmlns="" id="{CF0AD6B5-CE97-4BA3-AD60-B02EB084E50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958013" y="3816350"/>
            <a:ext cx="2730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84B8BB-B862-4B45-A81F-1AF00A3BF820}" type="datetime'''''''''''''2''''6''''''''''''''''''''''''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r>
              <a:rPr lang="es-CL" altLang="en-US" sz="900">
                <a:sym typeface="Arial" panose="020B0604020202020204" pitchFamily="34" charset="0"/>
              </a:rPr>
              <a:t/>
            </a:r>
            <a:br>
              <a:rPr lang="es-CL" altLang="en-US" sz="900">
                <a:sym typeface="Arial" panose="020B0604020202020204" pitchFamily="34" charset="0"/>
              </a:rPr>
            </a:br>
            <a:r>
              <a:rPr lang="es-CL" altLang="en-US" sz="900">
                <a:sym typeface="Arial" panose="020B0604020202020204" pitchFamily="34" charset="0"/>
              </a:rPr>
              <a:t>(</a:t>
            </a:r>
            <a:fld id="{45290BBE-B7B9-42E2-9A69-552DEC6FE1F6}" type="datetime'''''''''''''''''''''''''''''6''''''%'''''''''">
              <a:rPr lang="es-CL" altLang="en-US" sz="900" smtClean="0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r>
              <a:rPr lang="es-CL" sz="900">
                <a:sym typeface="Arial" panose="020B0604020202020204" pitchFamily="34" charset="0"/>
              </a:rPr>
              <a:t>)</a:t>
            </a:r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xmlns="" id="{BDEF77B9-5682-437A-9ECE-645724219E8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285038" y="4062413"/>
            <a:ext cx="647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3F233E-3674-4A93-8177-B987FD404C07}" type="datetime'''''''B''T''''''''G ''''''P''''a''''''''c''tua''''''''''l'''''">
              <a:rPr lang="es-CL" altLang="en-US" sz="900" smtClean="0"/>
              <a:pPr/>
              <a:t>BTG Pactual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99" name="Marcador de texto 2">
            <a:extLst>
              <a:ext uri="{FF2B5EF4-FFF2-40B4-BE49-F238E27FC236}">
                <a16:creationId xmlns:a16="http://schemas.microsoft.com/office/drawing/2014/main" xmlns="" id="{27CCF0C1-109B-43BC-88B7-F16246FDBD1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859588" y="4186238"/>
            <a:ext cx="2032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46B269-266B-4390-A067-9CF7622B77E2}" type="datetime'''''''''''''''''''M''''''''''''''''B''''''''''I'''''''''">
              <a:rPr lang="es-CL" altLang="en-US" sz="900" smtClean="0"/>
              <a:pPr/>
              <a:t>MBI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39" name="Marcador de texto 2">
            <a:extLst>
              <a:ext uri="{FF2B5EF4-FFF2-40B4-BE49-F238E27FC236}">
                <a16:creationId xmlns:a16="http://schemas.microsoft.com/office/drawing/2014/main" xmlns="" id="{44C2DAAB-B55E-4079-A606-F1E5A2C90D9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489700" y="4310063"/>
            <a:ext cx="8382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0AE4DD-5171-469F-A6ED-580277EA00F4}" type="datetime'B''''''''ic''''e'' ''''I''''''''n''ver''sio''''''nes'''''''">
              <a:rPr lang="es-CL" altLang="en-US" sz="9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ce Inversiones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6" name="Marcador de texto 2">
            <a:extLst>
              <a:ext uri="{FF2B5EF4-FFF2-40B4-BE49-F238E27FC236}">
                <a16:creationId xmlns:a16="http://schemas.microsoft.com/office/drawing/2014/main" xmlns="" id="{3F4432ED-2CF5-41E5-885C-2AE72411017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759450" y="4252913"/>
            <a:ext cx="6794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8338122-18AE-4A55-AC1A-B655A80451DA}" type="datetime'''''''''''''N''''''''e''''va''''''sa'' ''''H''M''''''C'">
              <a:rPr lang="es-CL" altLang="en-US" sz="900" smtClean="0"/>
              <a:pPr/>
              <a:t>Nevasa HMC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50" name="Marcador de texto 2">
            <a:extLst>
              <a:ext uri="{FF2B5EF4-FFF2-40B4-BE49-F238E27FC236}">
                <a16:creationId xmlns:a16="http://schemas.microsoft.com/office/drawing/2014/main" xmlns="" id="{B31AA3AF-A406-4DC7-A4A4-8A10FB706D6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886450" y="4129088"/>
            <a:ext cx="3746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1EC2A6-50AF-46C9-82D5-12FE10A14B6C}" type="datetime'''''''''''''''''''''T''''''''''o''e''''''''s''''c''a'''">
              <a:rPr lang="es-CL" altLang="en-US" sz="900" smtClean="0"/>
              <a:pPr/>
              <a:t>Toesca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1" name="Marcador de texto 2">
            <a:extLst>
              <a:ext uri="{FF2B5EF4-FFF2-40B4-BE49-F238E27FC236}">
                <a16:creationId xmlns:a16="http://schemas.microsoft.com/office/drawing/2014/main" xmlns="" id="{AC82DB89-AFAE-45DC-B596-DD0A60E6D8B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200775" y="3746500"/>
            <a:ext cx="196850" cy="123825"/>
          </a:xfrm>
          <a:prstGeom prst="rect">
            <a:avLst/>
          </a:prstGeom>
          <a:solidFill>
            <a:srgbClr val="FBD184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6469E3-2D63-4EDA-AC35-CE127FC0B319}" type="datetime'''''''''''''''''''1''%'''''">
              <a:rPr lang="es-CL" altLang="en-US" sz="900" smtClean="0"/>
              <a:pPr/>
              <a:t>1%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2" name="Marcador de texto 2">
            <a:extLst>
              <a:ext uri="{FF2B5EF4-FFF2-40B4-BE49-F238E27FC236}">
                <a16:creationId xmlns:a16="http://schemas.microsoft.com/office/drawing/2014/main" xmlns="" id="{FE78EA9D-DCD7-41A8-A6A3-4952FA1F69A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137150" y="4005263"/>
            <a:ext cx="9207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8F696E-C48F-4236-B20B-7A76353E9F77}" type="datetime'In''''dep''''''''''en''d''''''enc''''''''i''a ''''(''''3'')'">
              <a:rPr lang="es-CL" altLang="en-US" sz="900" smtClean="0"/>
              <a:pPr/>
              <a:t>Independencia (3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7" name="Marcador de texto 2">
            <a:extLst>
              <a:ext uri="{FF2B5EF4-FFF2-40B4-BE49-F238E27FC236}">
                <a16:creationId xmlns:a16="http://schemas.microsoft.com/office/drawing/2014/main" xmlns="" id="{05C4BFC9-4DEB-4C1C-8245-CE11CFE8DFC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697538" y="2732087"/>
            <a:ext cx="336550" cy="247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793651-1DED-4BE8-B42C-F289D3DE9652}" type="datetime'''1''''''''''7''''''''''''''''''''''''''''''''1'''''''''''">
              <a:rPr lang="es-CL" altLang="en-US" sz="900" smtClean="0"/>
              <a:pPr/>
              <a:t>171</a:t>
            </a:fld>
            <a:r>
              <a:rPr lang="es-CL" altLang="en-US" sz="900" dirty="0"/>
              <a:t/>
            </a:r>
            <a:br>
              <a:rPr lang="es-CL" altLang="en-US" sz="900" dirty="0"/>
            </a:br>
            <a:r>
              <a:rPr lang="es-CL" altLang="en-US" sz="900" dirty="0"/>
              <a:t>(</a:t>
            </a:r>
            <a:fld id="{272BF646-2B39-409F-83FB-B4204CF07F5D}" type="datetime'''4''''1''''''''''''''''''''''''''''%'''''''''''''''''''">
              <a:rPr lang="es-CL" altLang="en-US" sz="900" smtClean="0"/>
              <a:pPr/>
              <a:t>41%</a:t>
            </a:fld>
            <a:r>
              <a:rPr lang="es-CL" altLang="en-US" sz="900" dirty="0"/>
              <a:t>)</a:t>
            </a:r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48" name="Marcador de texto 2">
            <a:extLst>
              <a:ext uri="{FF2B5EF4-FFF2-40B4-BE49-F238E27FC236}">
                <a16:creationId xmlns:a16="http://schemas.microsoft.com/office/drawing/2014/main" xmlns="" id="{E9B7B0D2-5841-4F8C-8AF1-0FC0B73BB19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168900" y="2709863"/>
            <a:ext cx="450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4FA78F-0FE4-4C35-9BCF-18ADF4FCAB0C}" type="datetime'''''O''''tr''o''''s'''' ''''(4'''''''''''''''''''''')'''''''">
              <a:rPr lang="es-CL" altLang="en-US" sz="900" smtClean="0"/>
              <a:pPr/>
              <a:t>Otros (4)</a:t>
            </a:fld>
            <a:endParaRPr lang="es-CL" sz="900" dirty="0">
              <a:sym typeface="Arial" panose="020B0604020202020204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xmlns="" id="{01CF2849-F285-41EB-957B-C995FFF2F454}"/>
              </a:ext>
            </a:extLst>
          </p:cNvPr>
          <p:cNvSpPr txBox="1"/>
          <p:nvPr/>
        </p:nvSpPr>
        <p:spPr>
          <a:xfrm>
            <a:off x="4822825" y="1296988"/>
            <a:ext cx="4078288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u="sng" dirty="0">
                <a:latin typeface="Arial" panose="020B0604020202020204" pitchFamily="34" charset="0"/>
                <a:cs typeface="Arial" panose="020B0604020202020204" pitchFamily="34" charset="0"/>
              </a:rPr>
              <a:t>Total Activos Administrados por AGF</a:t>
            </a:r>
          </a:p>
          <a:p>
            <a:pPr algn="ctr"/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s-CL" sz="1400" dirty="0" err="1">
                <a:latin typeface="Arial" panose="020B0604020202020204" pitchFamily="34" charset="0"/>
                <a:cs typeface="Arial" panose="020B0604020202020204" pitchFamily="34" charset="0"/>
              </a:rPr>
              <a:t>N°</a:t>
            </a: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 Fondos, %)</a:t>
            </a:r>
          </a:p>
        </p:txBody>
      </p:sp>
    </p:spTree>
    <p:extLst>
      <p:ext uri="{BB962C8B-B14F-4D97-AF65-F5344CB8AC3E}">
        <p14:creationId xmlns:p14="http://schemas.microsoft.com/office/powerpoint/2010/main" val="2301420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5060&quot;&gt;&lt;version val=&quot;278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17130489192070541549E+00&quot;&gt;&lt;m_msothmcolidx val=&quot;0&quot;/&gt;&lt;m_rgb r=&quot;FA&quot; g=&quot;AF&quot; b=&quot;3F&quot;/&gt;&lt;m_nBrightness endver=&quot;26206&quot; val=&quot;0&quot;/&gt;&lt;/elem&gt;&lt;elem m_fUsage=&quot;2.54741671216285903157E+00&quot;&gt;&lt;m_msothmcolidx val=&quot;0&quot;/&gt;&lt;m_rgb r=&quot;FB&quot; g=&quot;D1&quot; b=&quot;84&quot;/&gt;&lt;m_nBrightness endver=&quot;26206&quot; val=&quot;0&quot;/&gt;&lt;/elem&gt;&lt;elem m_fUsage=&quot;1.81196624834933039949E+00&quot;&gt;&lt;m_msothmcolidx val=&quot;0&quot;/&gt;&lt;m_rgb r=&quot;81&quot; g=&quot;83&quot; b=&quot;87&quot;/&gt;&lt;m_nBrightness endver=&quot;26206&quot; val=&quot;0&quot;/&gt;&lt;/elem&gt;&lt;elem m_fUsage=&quot;1.38739867995184362748E+00&quot;&gt;&lt;m_msothmcolidx val=&quot;0&quot;/&gt;&lt;m_rgb r=&quot;CC&quot; g=&quot;CC&quot; b=&quot;CC&quot;/&gt;&lt;m_nBrightness endver=&quot;26206&quot; val=&quot;0&quot;/&gt;&lt;/elem&gt;&lt;elem m_fUsage=&quot;6.27423928248068585312E-01&quot;&gt;&lt;m_msothmcolidx val=&quot;0&quot;/&gt;&lt;m_rgb r=&quot;E2&quot; g=&quot;7F&quot; b=&quot;20&quot;/&gt;&lt;m_nBrightness endver=&quot;26206&quot; val=&quot;0&quot;/&gt;&lt;/elem&gt;&lt;elem m_fUsage=&quot;3.34729783555810900264E-01&quot;&gt;&lt;m_msothmcolidx val=&quot;0&quot;/&gt;&lt;m_rgb r=&quot;F5&quot; g=&quot;B7&quot; b=&quot;8D&quot;/&gt;&lt;m_nBrightness endver=&quot;26206&quot; val=&quot;0&quot;/&gt;&lt;/elem&gt;&lt;elem m_fUsage=&quot;7.80141766320913143673E-02&quot;&gt;&lt;m_msothmcolidx val=&quot;0&quot;/&gt;&lt;m_rgb r=&quot;F8&quot; g=&quot;B1&quot; b=&quot;31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FdSgKbpU77UmsYnbl1M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ze.M.tuFqkLZkP1reE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EmSWG5QB4gKiwWFB3kz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xS7EPTJVID4iKFvWg6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1Pc95H2MsMtlOiYNBjF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8GqAWrvMpxrgWV1qTX7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E8Qlnn60rs6bTxcmBD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jMphhYp8R0FsaELjjEF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TsVc0BPSEXNowqnxX.K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JenAOJ0tQ_y5c50Dj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0Z5_QxWLhYE_Rqqyd.F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OrRbpXl213HA6hFidVX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T9FhjjL0CEi0AbzLyS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.lyVGIdJxdd6OARV2HB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K4rqRjTYX1z8vPQA3pS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Fzs1VRCzWvaOCbhv4C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Rj9r6y.A8eOSk31ZJR7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T_8mE.Nuvm_YfQqeoNZ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mOE4P3V4ssis5_1j4cY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IF6ydegk8e2mkAudJ7S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WZWCjUWmctBkQDe_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pXC20ycuSIEQXxIa2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OOm0EFlIpp1R0SJUmt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C0jCbqWB_6vdn3QQs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3uc8g2ajsiMZV00XIqD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65wyDhgn5RMic7_J1aT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J2AeDk1qBvZ.hbIshz1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4NE0U9x0.TnzlyN4Qu4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TmAr1r81faEOEQaqL9N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74CR5KPYvIBEfp25hE3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hK_6_0bebbHMb0pQv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f6akLvog5_Fh352TVr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wVFV5iziBZpwyBTtVrs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Okcs7Z5ho8XWyqcPeGo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2uF8plb6QJ.iIE1vobH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tiTMmNg5UkdxrWAxB98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M2t36vOszMxEcsUSQk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PY1x6TNP98Kxbbmc0jB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Ix4W5ZnzZYQlitDFswd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k.LJax63eSByozg8HiU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Q.bzLjHWFYkRQI9EQCW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ICTdENRBC62krQQmfb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cFMxZ2MJsG8iH2V8Sx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g4toBUUQfJnp_uSzeKD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sboPJ7QRXYOIsvMI8r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aJHuw.qJPIOAJSwZ59g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98wNdPbm_FFc0k8vS5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bINry6utGQlGLdW2nRb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u1FMdQy3RJWyW0d_jek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W8U_K4H3dILzRltKkQ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kiwgiUzxqcA4EddLKgR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i_7N8Qp8Ncd0EBQjWWX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8Wzwjg3fXZyDoue4Jb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9VJkIkbNXdiGphf0ti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DHMwGp3bXFVVfYqRJ47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z6t7z9kR3uXsYLpUBWz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vCssARjH0TLvLrpGOSa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gg9U44oH1k0LoXTN7P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7HMeIaSwxX4vETjTlv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y0EuvgP2_Xs6kJgNY5i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SjM1_oimIVCzM7QA8fz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K62b.a5hWR9YPKEPs1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0DwflI0rXRovhJEoN8k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Lb5MIyiTN4w2EutwKoV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JLKVOxrsqrdCbe6DUY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gZ235Z5Cly5spArCi2x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zi3Z4Jfa0dFfMi5eI2e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aV0Zd7hYYYqDyAn9sO1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TMvERQVzPi5GwHhtLF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ReXntgkE_q8qa_8zUq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ddIzm8532klOdNLkcwF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26.l6.tQ9Tzptm1Sl9D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vekvy3911LMnikhDqmP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5z4o_HeiGKw5CRGI.f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K3S2iU_6QnU.GATbNj5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ubazXTOLmsqjAJCh6b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O9umF_68xgbserMVtn7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s4iqoVht74Ok36KfTO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jMphhYp8R0FsaELjjEF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ot8MmX7WboqNSvPlxLh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lr6KcWU07oK1AY4AHGU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4x0Ws3RbcEeT3f_2CO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_9QepCyKhLJMt5u3a6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ykIC89fOmq4Jg7Z.gx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qGB9UvZeObIVLp.qAqQ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ieGN6eimeJyxHIGYAx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oHhFBiTg_abJWNXCBM0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02NfywHFJwW19TkntT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vJWG.1PZPQ0MaLp6tl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fxXlTo2fTCF8OTYr96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bm8fJEL2hS09jOq6K9i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NBBcHLmwKrFSKY8VPY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K8ekaeWNYO_vV.WIIWW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_UImwRQqGvPeHMq0iJ4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GbsyGwbf4A3Ou4aeqQL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Dk054C8IgQyQm1iiqO1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8BViGvESF9Yhil3it9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sYhrgnsTLXlIM5jsCTw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gy771SwAruHzE6McpTV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yNNAd6JG3NZqj6WI6f5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17YJdWcRWI2mIA7pr16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TG_Ni6h12J5_3oIxj_0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sUujUDGdeJfNKWxCIMo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EFxaegGTVQysDxao407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T9FhjjL0CEi0AbzLySv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JnklU0d_oPIV14f869T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OrRbpXl213HA6hFidVX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3456ns0G9iuryBCZXB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0paKLr4aqsC2R00nb35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W1fkHtF4acUnm3U.oHF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oeF_JMBeUtPFzwHYSZC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CNCu.SHY6LwBWCZf71s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eSW2mTzzmL1G2WIRxXs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4gJV466n8feiU16AsPH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2BzLXVltabEx_vbp9J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Z3VIgULQO7rb6H.C.1x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cR..qVmOPCBVioSxAd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OJenAOJ0tQ_y5c50DjF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.lyVGIdJxdd6OARV2H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KgVi09IcjwbEkMtjJKt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K4rqRjTYX1z8vPQA3pS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Fzs1VRCzWvaOCbhv4C3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Rj9r6y.A8eOSk31ZJR7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T_8mE.Nuvm_YfQqeoNZ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mOE4P3V4ssis5_1j4cY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C0jCbqWB_6vdn3QQsL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WZWCjUWmctBkQDe_XE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OOm0EFlIpp1R0SJUmt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3uc8g2ajsiMZV00XIqD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5GUbxo0sAOy8mBU2.O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vA7SKK3qoHvZXgMcvSX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YYM_kNZUPrZMwwcKtFY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dQWMHvsf8EBy6eG3Gq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6kTqzaJbiH.SHQF7rRb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urEkFNWbrMmu44vxcl7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mtro2aMqCzJ46I3Le3d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Dl1c0xaSJ.ijl59WbYF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qY_BWyfWvddslQN.0Bq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y8Z26KfhB5lVvu._dV.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BPJeIXhpEZvJ26GUDb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jMphhYp8R0FsaELjjEF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OpYaq1DRGKHwqDZQaCJ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6uZ36fI4bSu2k8yLWep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sqJ33L72zOtMzMI_56H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.At.3J93GMxJ_wzswkV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eWngVxaDTMS_Sa7uI6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LygCADoA6GPdzGbK7od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jhU4IbiyI2hi6TLGcJ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XSywsgCc46ObGhQPhS2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M6sZaCLkDsfyh3dL4JH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CO.hEA5d_InEGpdMKE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KzNfcRTzw8gfgHQIKt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1_tyvlAEYiDrIups1oB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Cc1GRg4WyDT1LPvrIHl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O_54zDTGeExuHHAiAMH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VsZURaINrPOsI8H8ww7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Fx9KJkMJBVafGdHZ._J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vAGp51JOQSipHJhTB_l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ZEK8hZwDQnOsL5FHulc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ddIzm8532klOdNLkcwF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vekvy3911LMnikhDqmP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zi3Z4Jfa0dFfMi5eI2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c6RXRLNgyGfybEyfIR8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ReXntgkE_q8qa_8zUqU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Kgg9U44oH1k0LoXTN7P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TMvERQVzPi5GwHhtLFC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JLKVOxrsqrdCbe6DUYS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Lb5MIyiTN4w2EutwKoV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7HMeIaSwxX4vETjTlvz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y0EuvgP2_Xs6kJgNY5i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aV0Zd7hYYYqDyAn9sO1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K62b.a5hWR9YPKEPs1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26.l6.tQ9Tzptm1Sl9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iz1yQJVt7D0pTvc.BEJ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0DwflI0rXRovhJEoN8k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SjM1_oimIVCzM7QA8fz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5z4o_HeiGKw5CRGI.f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8JwLppneZEF.f_7vVOq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K3S2iU_6QnU.GATbNj5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s4iqoVht74Ok36KfTOR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ubazXTOLmsqjAJCh6bH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tkPsESiXo6Edh7NwVTz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jMphhYp8R0FsaELjjE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oTBsyAtqybOUyu4Ld.1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EOHbNz9gUiregrRTCM4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yoY7ilB7pQyImYhsTw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dUyW7JaXAGRbpxcBny4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dqWRzmVVdLpF4KckWnn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_Hz7mhOZ9488SqySNKZ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LAppgKw7Fk30EwEu6r2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1LZiVIrJTA2ti7FRIpK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diWqakrCh0OhTpOPbEt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53HeuZGVaNvWXirEvQn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XI5pDarhUDYSVOZTM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MozBoBBqkz4clUjbuSe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zxbfOxjXv4cc8kkS5fX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B1GaLYX.VleKjCK26Bv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PfrhuiS8AFsWY4MpxRT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.nxD6zOq55_ThozgkHM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w_HOdal.AWClavTufIC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30nxcAD.o7dPX5sIpI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GKTUzvwmf1CqNP1EdZ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zICTeDgSwuBg1KrqIuQ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LAJR0YDSWXi4_Fx9Pvm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4yuIZW7lkTyvzGrKBY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rqz5.qqCiWLczsoT2tg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2gKVd2uJrPqI3jOSuze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rs_XhWt1EPdbjpnM.H3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kPdIs1v4F0jso1Wa8zr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MwyCo.wlaPDCTQDoQhS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z9wqBkZQc2c2u22xMS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VUToApKQzoQzjRQs3_7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uY4WuXfKpmm2euNF5n.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ZnzsCqbxpeQ7Zy0iCb1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Xk_xlS95rDFbsp.EMlX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lmw6oM9Whubx7xX50t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dUAde.HQ_pLEoRdXPe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uHe4fnxMI0BC4oW3HpV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KRuRZEQgQlzc_inTvOa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LAxtP_bz_NREbHvabSA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w7YSuNzUaCHRLum8hxR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_hJMrmkMgQOir8q4B.Y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SxqyljJxhYCkHZPE7Z2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ngeVBU.Jqs2gL0qZt3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AeV2P4G4tbmpavXwHBi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e1cWBh8ZWkv4.ut2F1f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mcpi4Zo4nf_9yELWhSZ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8Aad5qQNFPd5xMiE5U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V8aatFCXb85XJnZGS9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z6QQh4FuPIIk7hgul64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5HvffGQ_ZFFPT01QwS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_YVYFj39oPjojZpbm85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fhh3SA7gxuozFHGxS9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1vaWOJQjh8_x2tXjMM0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vwrlqsqnP8vagamr1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FPJgTcOCB0SWgF9D2p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45kRIsvBFTdA1GYXa4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iUYu5Y8XWm49ECv4UV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c0FW0rN42cT4GpjlZb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fYnQMxUUDcOvNc0oNu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0pvGGzNXv_icgNCqcoS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KMI6xuGdWeYqTUvqKq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dJVUKfaa2tpRI20.p0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zVBMAKy7SGkuFex..k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v9j9RaEDTjqS04xnTy8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RjvIUIeUN8B_nWr1CI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DpMqPX_MC2U8yaHvnd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jMphhYp8R0FsaELjjE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Y2cnXVOycrr7en8YPlW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YQegoa3Jiq6lpAsle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uM_RhYhlGGS7CDKFvV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iUm46ROJOT4K6RVG6k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27Gzpk8kpJjBtT7SWV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ddLT063u5uvg_SzBY1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6oEMupvJE1QHqYLpgm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rTtLm2L6MZLJ3M9VIm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wYcb2ISTVFYm6sgL3i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awTxtvN3Vvzmu87G2z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FYLn7OXCXBFT.ki9xz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1Tn_yKFli8GZ1AOk6z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R2QK2n.Rcl.3e6WeWB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rUkTVQwoQPre8j6GNg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_lCR9N_i0.IPGnOsz7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GQRsWnE3Uk736Iq1eXH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9MryhuKDuAkoHchY.K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jdM9pn0SLGjrGiA0N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WSrMr45pkZrQ8nyF6m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7IKzxe3wp80SHpTkRQ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Biyn.uV3e0nGHU1WGj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SKB6VK39g9vWJL_eh_h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7oVyqmww5zrVKoK7YA_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Md8dcvrNkqLHCxOmAB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gGWYjsS2qAkbNIjHoT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ifE8AvNEvj2bJsQ2EL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5.cwW5hUavpCXNT5LSr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fbWhTijzCoEDa.roj7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9nKvq5Zd4pQUuHJxJ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C1Vp79Ss3NAmQr92Kc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BKAlUlIwpFnjHdhd7g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yIyNTtX8U8vSaO6EYx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qjlOVwHLro2ncoKn5zy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ZypEQGZEmvGc.WK.R9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6jZCq1s.JfOndBKDGrc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H0PyfUiKCsVai2F.zLz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NO.m3jYmqa.fZMl.Tm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eobitVJhQqUGWbIf7s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JOEJphN1Sh9Rb2OJdg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tG3HWudKCz1DGsccXRR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bfRkAwb8OqpoPufSv9n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FxFcAwROxqoKzuTDjK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cCoe3.NMz2vf1xs2Qa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BEogQoqVxbWWcnze5LP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moBAP2ZKNdOoC79Skyb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6nXGnzfCuJzIrRxxXR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7ywzIL5Xqd2vwDvo1NQ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cogUEuN48f17NSJaGCW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gJuZv4SMKlYc.tJkK2Z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P0PC_ani4d9_HZSuSy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c7OCu5vqaea0PDlNHWk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4Ljb.udcaSbrcZ2SWH6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Hs.Qsm3mgB6AOQ7DMR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LPP9p3RF.o7Tmct8e5a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ACAFI 2019 22 abril (2)" id="{061CBA92-08E2-4995-A4CB-26F5458CD5DA}" vid="{A57CA2F7-1F55-4F04-8652-4DEC7E9D5E0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ACAFI Final</Template>
  <TotalTime>4860</TotalTime>
  <Words>574</Words>
  <Application>Microsoft Office PowerPoint</Application>
  <PresentationFormat>Personalizado</PresentationFormat>
  <Paragraphs>257</Paragraphs>
  <Slides>8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2" baseType="lpstr">
      <vt:lpstr>Arial</vt:lpstr>
      <vt:lpstr>Calibri</vt:lpstr>
      <vt:lpstr>Tema de Office</vt:lpstr>
      <vt:lpstr>Diapositiva de think-cell</vt:lpstr>
      <vt:lpstr>INFORME TRIMESTRAL FONDOS DE INVERSIÓN PÚBLICOS  DICIEMBRE 2018</vt:lpstr>
      <vt:lpstr>RESULTADOS GENERALES DICIEMBRE 2018</vt:lpstr>
      <vt:lpstr>Presentación de PowerPoint</vt:lpstr>
      <vt:lpstr>RESULTADOS GENERALES AUM crece 11% en US$ entre 2017 y 2018 (25% en CLP) y 14% en número de fondos El tipo de cambio CLP/US$ varió un +5% entre 2017 y 2018</vt:lpstr>
      <vt:lpstr>RESULTADOS DICIEMBRE 2018 Los fondos de Capital Privado crecieron un 39% con respecto a 2017, seguido por un 12% de los fondos Inmobiliarios. Los fondos Mobiliario crecen un 2,5% en el periodo</vt:lpstr>
      <vt:lpstr>RESULTADOS DICIEMBRE 2018 Los fondos con inversión directa crecen un 41% mientras que los de inversión indirecta crecieron en 38%, revirtiendo la pérdida de 2017.    </vt:lpstr>
      <vt:lpstr>RESULTADOS DICIEMBRE 2018 Los Fondos Mobiliarios llegaron a US$16.496 millones de dólares bajo administración, creciendo un 2,5% en 2018. Los Inmobiliarios, alcanzaron los US$3.518, aumentando un 12% el año pasado. </vt:lpstr>
      <vt:lpstr>RESULTADOS DICIEMBRE 2018 Moneda concentra la mayor cantidad de activos administrados (25%) distribuidos en 27 fondos, mientras que LarrainVial concentra la mayor cantidad de fondos (50) con un 9% del AUM total</vt:lpstr>
    </vt:vector>
  </TitlesOfParts>
  <Company>LP Building Product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E TRIMESTRAL FONDOS DE INVERSIÓN PÚBLICOS  DICIEMBRE 2018</dc:title>
  <dc:creator>Acafi</dc:creator>
  <cp:lastModifiedBy>Florencia Herrera Grebe</cp:lastModifiedBy>
  <cp:revision>59</cp:revision>
  <dcterms:created xsi:type="dcterms:W3CDTF">2019-04-23T13:42:29Z</dcterms:created>
  <dcterms:modified xsi:type="dcterms:W3CDTF">2019-04-30T16:17:26Z</dcterms:modified>
</cp:coreProperties>
</file>